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84" r:id="rId1"/>
  </p:sldMasterIdLst>
  <p:notesMasterIdLst>
    <p:notesMasterId r:id="rId15"/>
  </p:notesMasterIdLst>
  <p:handoutMasterIdLst>
    <p:handoutMasterId r:id="rId16"/>
  </p:handoutMasterIdLst>
  <p:sldIdLst>
    <p:sldId id="257" r:id="rId2"/>
    <p:sldId id="263" r:id="rId3"/>
    <p:sldId id="357" r:id="rId4"/>
    <p:sldId id="364" r:id="rId5"/>
    <p:sldId id="352" r:id="rId6"/>
    <p:sldId id="353" r:id="rId7"/>
    <p:sldId id="356" r:id="rId8"/>
    <p:sldId id="359" r:id="rId9"/>
    <p:sldId id="362" r:id="rId10"/>
    <p:sldId id="360" r:id="rId11"/>
    <p:sldId id="351" r:id="rId12"/>
    <p:sldId id="363" r:id="rId13"/>
    <p:sldId id="358" r:id="rId14"/>
  </p:sldIdLst>
  <p:sldSz cx="12192000" cy="6858000"/>
  <p:notesSz cx="9144000" cy="6858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47"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DC304"/>
    <a:srgbClr val="82CBD4"/>
    <a:srgbClr val="95C121"/>
    <a:srgbClr val="EF7E05"/>
    <a:srgbClr val="1BACE4"/>
    <a:srgbClr val="E6E6E6"/>
    <a:srgbClr val="1D1E1C"/>
    <a:srgbClr val="E20C18"/>
    <a:srgbClr val="FAA8A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159" autoAdjust="0"/>
    <p:restoredTop sz="96357" autoAdjust="0"/>
  </p:normalViewPr>
  <p:slideViewPr>
    <p:cSldViewPr snapToGrid="0">
      <p:cViewPr varScale="1">
        <p:scale>
          <a:sx n="64" d="100"/>
          <a:sy n="64" d="100"/>
        </p:scale>
        <p:origin x="712" y="36"/>
      </p:cViewPr>
      <p:guideLst>
        <p:guide orient="horz" pos="2160"/>
        <p:guide pos="347"/>
      </p:guideLst>
    </p:cSldViewPr>
  </p:slideViewPr>
  <p:notesTextViewPr>
    <p:cViewPr>
      <p:scale>
        <a:sx n="3" d="2"/>
        <a:sy n="3" d="2"/>
      </p:scale>
      <p:origin x="0" y="0"/>
    </p:cViewPr>
  </p:notesTextViewPr>
  <p:sorterViewPr>
    <p:cViewPr>
      <p:scale>
        <a:sx n="66" d="100"/>
        <a:sy n="66" d="100"/>
      </p:scale>
      <p:origin x="0" y="-208"/>
    </p:cViewPr>
  </p:sorterViewPr>
  <p:notesViewPr>
    <p:cSldViewPr snapToGrid="0" showGuides="1">
      <p:cViewPr varScale="1">
        <p:scale>
          <a:sx n="83" d="100"/>
          <a:sy n="83" d="100"/>
        </p:scale>
        <p:origin x="2107" y="6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841829619377778"/>
          <c:y val="8.7927405656893873E-2"/>
          <c:w val="0.58391858764586657"/>
          <c:h val="0.90788557502611122"/>
        </c:manualLayout>
      </c:layout>
      <c:doughnutChart>
        <c:varyColors val="1"/>
        <c:ser>
          <c:idx val="0"/>
          <c:order val="0"/>
          <c:tx>
            <c:strRef>
              <c:f>Sheet1!$B$1</c:f>
              <c:strCache>
                <c:ptCount val="1"/>
                <c:pt idx="0">
                  <c:v>Sales</c:v>
                </c:pt>
              </c:strCache>
            </c:strRef>
          </c:tx>
          <c:dPt>
            <c:idx val="0"/>
            <c:bubble3D val="0"/>
            <c:spPr>
              <a:solidFill>
                <a:schemeClr val="accent1"/>
              </a:solidFill>
              <a:ln w="76200">
                <a:solidFill>
                  <a:schemeClr val="accent1"/>
                </a:solidFill>
              </a:ln>
              <a:effectLst/>
            </c:spPr>
            <c:extLst>
              <c:ext xmlns:c16="http://schemas.microsoft.com/office/drawing/2014/chart" uri="{C3380CC4-5D6E-409C-BE32-E72D297353CC}">
                <c16:uniqueId val="{00000001-EE8B-4391-98A9-75ECE994C37C}"/>
              </c:ext>
            </c:extLst>
          </c:dPt>
          <c:dPt>
            <c:idx val="1"/>
            <c:bubble3D val="0"/>
            <c:spPr>
              <a:solidFill>
                <a:schemeClr val="tx2"/>
              </a:solidFill>
              <a:ln w="19050">
                <a:solidFill>
                  <a:schemeClr val="lt1"/>
                </a:solidFill>
              </a:ln>
              <a:effectLst/>
            </c:spPr>
            <c:extLst>
              <c:ext xmlns:c16="http://schemas.microsoft.com/office/drawing/2014/chart" uri="{C3380CC4-5D6E-409C-BE32-E72D297353CC}">
                <c16:uniqueId val="{00000003-EE8B-4391-98A9-75ECE994C37C}"/>
              </c:ext>
            </c:extLst>
          </c:dPt>
          <c:cat>
            <c:strRef>
              <c:f>Sheet1!$A$2:$A$3</c:f>
              <c:strCache>
                <c:ptCount val="2"/>
                <c:pt idx="0">
                  <c:v>1st Qtr</c:v>
                </c:pt>
                <c:pt idx="1">
                  <c:v>2nd Qtr</c:v>
                </c:pt>
              </c:strCache>
            </c:strRef>
          </c:cat>
          <c:val>
            <c:numRef>
              <c:f>Sheet1!$B$2:$B$3</c:f>
              <c:numCache>
                <c:formatCode>0%</c:formatCode>
                <c:ptCount val="2"/>
                <c:pt idx="0">
                  <c:v>0.97</c:v>
                </c:pt>
                <c:pt idx="1">
                  <c:v>0.03</c:v>
                </c:pt>
              </c:numCache>
            </c:numRef>
          </c:val>
          <c:extLst>
            <c:ext xmlns:c16="http://schemas.microsoft.com/office/drawing/2014/chart" uri="{C3380CC4-5D6E-409C-BE32-E72D297353CC}">
              <c16:uniqueId val="{00000004-EE8B-4391-98A9-75ECE994C37C}"/>
            </c:ext>
          </c:extLst>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841829619377778"/>
          <c:y val="8.7927405656893873E-2"/>
          <c:w val="0.58391858764586657"/>
          <c:h val="0.90788557502611122"/>
        </c:manualLayout>
      </c:layout>
      <c:doughnutChart>
        <c:varyColors val="1"/>
        <c:ser>
          <c:idx val="0"/>
          <c:order val="0"/>
          <c:tx>
            <c:strRef>
              <c:f>Sheet1!$B$1</c:f>
              <c:strCache>
                <c:ptCount val="1"/>
                <c:pt idx="0">
                  <c:v>Sales</c:v>
                </c:pt>
              </c:strCache>
            </c:strRef>
          </c:tx>
          <c:dPt>
            <c:idx val="0"/>
            <c:bubble3D val="0"/>
            <c:spPr>
              <a:solidFill>
                <a:schemeClr val="accent1"/>
              </a:solidFill>
              <a:ln w="76200">
                <a:solidFill>
                  <a:schemeClr val="accent1"/>
                </a:solidFill>
              </a:ln>
              <a:effectLst/>
            </c:spPr>
            <c:extLst>
              <c:ext xmlns:c16="http://schemas.microsoft.com/office/drawing/2014/chart" uri="{C3380CC4-5D6E-409C-BE32-E72D297353CC}">
                <c16:uniqueId val="{00000001-3735-4DDC-95ED-577746036AF6}"/>
              </c:ext>
            </c:extLst>
          </c:dPt>
          <c:dPt>
            <c:idx val="1"/>
            <c:bubble3D val="0"/>
            <c:spPr>
              <a:solidFill>
                <a:schemeClr val="tx2"/>
              </a:solidFill>
              <a:ln w="19050">
                <a:solidFill>
                  <a:schemeClr val="lt1"/>
                </a:solidFill>
              </a:ln>
              <a:effectLst/>
            </c:spPr>
            <c:extLst>
              <c:ext xmlns:c16="http://schemas.microsoft.com/office/drawing/2014/chart" uri="{C3380CC4-5D6E-409C-BE32-E72D297353CC}">
                <c16:uniqueId val="{00000003-3735-4DDC-95ED-577746036AF6}"/>
              </c:ext>
            </c:extLst>
          </c:dPt>
          <c:cat>
            <c:strRef>
              <c:f>Sheet1!$A$2:$A$3</c:f>
              <c:strCache>
                <c:ptCount val="2"/>
                <c:pt idx="0">
                  <c:v>1st Qtr</c:v>
                </c:pt>
                <c:pt idx="1">
                  <c:v>2nd Qtr</c:v>
                </c:pt>
              </c:strCache>
            </c:strRef>
          </c:cat>
          <c:val>
            <c:numRef>
              <c:f>Sheet1!$B$2:$B$3</c:f>
              <c:numCache>
                <c:formatCode>0%</c:formatCode>
                <c:ptCount val="2"/>
                <c:pt idx="0">
                  <c:v>0.33</c:v>
                </c:pt>
                <c:pt idx="1">
                  <c:v>0.77</c:v>
                </c:pt>
              </c:numCache>
            </c:numRef>
          </c:val>
          <c:extLst>
            <c:ext xmlns:c16="http://schemas.microsoft.com/office/drawing/2014/chart" uri="{C3380CC4-5D6E-409C-BE32-E72D297353CC}">
              <c16:uniqueId val="{00000004-3735-4DDC-95ED-577746036AF6}"/>
            </c:ext>
          </c:extLst>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841829619377778"/>
          <c:y val="8.7927405656893873E-2"/>
          <c:w val="0.58391858764586657"/>
          <c:h val="0.90788557502611122"/>
        </c:manualLayout>
      </c:layout>
      <c:doughnutChart>
        <c:varyColors val="1"/>
        <c:ser>
          <c:idx val="0"/>
          <c:order val="0"/>
          <c:tx>
            <c:strRef>
              <c:f>Sheet1!$B$1</c:f>
              <c:strCache>
                <c:ptCount val="1"/>
                <c:pt idx="0">
                  <c:v>Sales</c:v>
                </c:pt>
              </c:strCache>
            </c:strRef>
          </c:tx>
          <c:dPt>
            <c:idx val="0"/>
            <c:bubble3D val="0"/>
            <c:spPr>
              <a:solidFill>
                <a:schemeClr val="accent1"/>
              </a:solidFill>
              <a:ln w="76200">
                <a:solidFill>
                  <a:schemeClr val="accent1"/>
                </a:solidFill>
              </a:ln>
              <a:effectLst/>
            </c:spPr>
            <c:extLst>
              <c:ext xmlns:c16="http://schemas.microsoft.com/office/drawing/2014/chart" uri="{C3380CC4-5D6E-409C-BE32-E72D297353CC}">
                <c16:uniqueId val="{00000001-083D-40B5-860C-C173F25562A4}"/>
              </c:ext>
            </c:extLst>
          </c:dPt>
          <c:dPt>
            <c:idx val="1"/>
            <c:bubble3D val="0"/>
            <c:spPr>
              <a:solidFill>
                <a:schemeClr val="tx2"/>
              </a:solidFill>
              <a:ln w="19050">
                <a:solidFill>
                  <a:schemeClr val="lt1"/>
                </a:solidFill>
              </a:ln>
              <a:effectLst/>
            </c:spPr>
            <c:extLst>
              <c:ext xmlns:c16="http://schemas.microsoft.com/office/drawing/2014/chart" uri="{C3380CC4-5D6E-409C-BE32-E72D297353CC}">
                <c16:uniqueId val="{00000003-083D-40B5-860C-C173F25562A4}"/>
              </c:ext>
            </c:extLst>
          </c:dPt>
          <c:cat>
            <c:strRef>
              <c:f>Sheet1!$A$2:$A$3</c:f>
              <c:strCache>
                <c:ptCount val="2"/>
                <c:pt idx="0">
                  <c:v>1st Qtr</c:v>
                </c:pt>
                <c:pt idx="1">
                  <c:v>2nd Qtr</c:v>
                </c:pt>
              </c:strCache>
            </c:strRef>
          </c:cat>
          <c:val>
            <c:numRef>
              <c:f>Sheet1!$B$2:$B$3</c:f>
              <c:numCache>
                <c:formatCode>0%</c:formatCode>
                <c:ptCount val="2"/>
                <c:pt idx="0">
                  <c:v>0.14000000000000001</c:v>
                </c:pt>
                <c:pt idx="1">
                  <c:v>0.86</c:v>
                </c:pt>
              </c:numCache>
            </c:numRef>
          </c:val>
          <c:extLst>
            <c:ext xmlns:c16="http://schemas.microsoft.com/office/drawing/2014/chart" uri="{C3380CC4-5D6E-409C-BE32-E72D297353CC}">
              <c16:uniqueId val="{00000004-083D-40B5-860C-C173F25562A4}"/>
            </c:ext>
          </c:extLst>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B768DAB-FE87-4CAB-AEAC-2A9EBE55511B}"/>
              </a:ext>
            </a:extLst>
          </p:cNvPr>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4A9FC4E2-F6F1-419C-9F44-302787CC4AC4}"/>
              </a:ext>
            </a:extLst>
          </p:cNvPr>
          <p:cNvSpPr>
            <a:spLocks noGrp="1"/>
          </p:cNvSpPr>
          <p:nvPr>
            <p:ph type="dt" sz="quarter" idx="1"/>
          </p:nvPr>
        </p:nvSpPr>
        <p:spPr>
          <a:xfrm>
            <a:off x="5180013" y="0"/>
            <a:ext cx="3962400" cy="344488"/>
          </a:xfrm>
          <a:prstGeom prst="rect">
            <a:avLst/>
          </a:prstGeom>
        </p:spPr>
        <p:txBody>
          <a:bodyPr vert="horz" lIns="91440" tIns="45720" rIns="91440" bIns="45720" rtlCol="0"/>
          <a:lstStyle>
            <a:lvl1pPr algn="r">
              <a:defRPr sz="1200"/>
            </a:lvl1pPr>
          </a:lstStyle>
          <a:p>
            <a:fld id="{50D87A0D-4AE4-469D-8C0F-1E3E19CC0F04}" type="datetimeFigureOut">
              <a:rPr lang="en-GB" smtClean="0"/>
              <a:t>23/08/2021</a:t>
            </a:fld>
            <a:endParaRPr lang="en-GB"/>
          </a:p>
        </p:txBody>
      </p:sp>
      <p:sp>
        <p:nvSpPr>
          <p:cNvPr id="4" name="Footer Placeholder 3">
            <a:extLst>
              <a:ext uri="{FF2B5EF4-FFF2-40B4-BE49-F238E27FC236}">
                <a16:creationId xmlns:a16="http://schemas.microsoft.com/office/drawing/2014/main" id="{6134850C-42C4-41F0-AA1F-2F442460B52A}"/>
              </a:ext>
            </a:extLst>
          </p:cNvPr>
          <p:cNvSpPr>
            <a:spLocks noGrp="1"/>
          </p:cNvSpPr>
          <p:nvPr>
            <p:ph type="ftr" sz="quarter" idx="2"/>
          </p:nvPr>
        </p:nvSpPr>
        <p:spPr>
          <a:xfrm>
            <a:off x="0" y="6513513"/>
            <a:ext cx="3962400" cy="3444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503B8400-D95F-432A-B8B1-FBF545FE0748}"/>
              </a:ext>
            </a:extLst>
          </p:cNvPr>
          <p:cNvSpPr>
            <a:spLocks noGrp="1"/>
          </p:cNvSpPr>
          <p:nvPr>
            <p:ph type="sldNum" sz="quarter" idx="3"/>
          </p:nvPr>
        </p:nvSpPr>
        <p:spPr>
          <a:xfrm>
            <a:off x="5180013" y="6513513"/>
            <a:ext cx="3962400" cy="344487"/>
          </a:xfrm>
          <a:prstGeom prst="rect">
            <a:avLst/>
          </a:prstGeom>
        </p:spPr>
        <p:txBody>
          <a:bodyPr vert="horz" lIns="91440" tIns="45720" rIns="91440" bIns="45720" rtlCol="0" anchor="b"/>
          <a:lstStyle>
            <a:lvl1pPr algn="r">
              <a:defRPr sz="1200"/>
            </a:lvl1pPr>
          </a:lstStyle>
          <a:p>
            <a:fld id="{02F9E6EB-C898-47AB-9193-70CED8AB477C}" type="slidenum">
              <a:rPr lang="en-GB" smtClean="0"/>
              <a:t>‹#›</a:t>
            </a:fld>
            <a:endParaRPr lang="en-GB"/>
          </a:p>
        </p:txBody>
      </p:sp>
    </p:spTree>
    <p:extLst>
      <p:ext uri="{BB962C8B-B14F-4D97-AF65-F5344CB8AC3E}">
        <p14:creationId xmlns:p14="http://schemas.microsoft.com/office/powerpoint/2010/main" val="2120400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5180013" y="0"/>
            <a:ext cx="3962400" cy="344488"/>
          </a:xfrm>
          <a:prstGeom prst="rect">
            <a:avLst/>
          </a:prstGeom>
        </p:spPr>
        <p:txBody>
          <a:bodyPr vert="horz" lIns="91440" tIns="45720" rIns="91440" bIns="45720" rtlCol="0"/>
          <a:lstStyle>
            <a:lvl1pPr algn="r">
              <a:defRPr sz="1200"/>
            </a:lvl1pPr>
          </a:lstStyle>
          <a:p>
            <a:fld id="{58E864C0-77EE-456B-9747-0A15F816AD6A}" type="datetimeFigureOut">
              <a:rPr lang="en-GB" smtClean="0"/>
              <a:t>23/08/2021</a:t>
            </a:fld>
            <a:endParaRPr lang="en-GB"/>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914400" y="3300413"/>
            <a:ext cx="7315200" cy="2700337"/>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6513513"/>
            <a:ext cx="3962400" cy="3444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5180013" y="6513513"/>
            <a:ext cx="3962400" cy="344487"/>
          </a:xfrm>
          <a:prstGeom prst="rect">
            <a:avLst/>
          </a:prstGeom>
        </p:spPr>
        <p:txBody>
          <a:bodyPr vert="horz" lIns="91440" tIns="45720" rIns="91440" bIns="45720" rtlCol="0" anchor="b"/>
          <a:lstStyle>
            <a:lvl1pPr algn="r">
              <a:defRPr sz="1200"/>
            </a:lvl1pPr>
          </a:lstStyle>
          <a:p>
            <a:fld id="{DCC1A71F-ED3E-4A54-969C-A8BBEECB2EB9}" type="slidenum">
              <a:rPr lang="en-GB" smtClean="0"/>
              <a:t>‹#›</a:t>
            </a:fld>
            <a:endParaRPr lang="en-GB"/>
          </a:p>
        </p:txBody>
      </p:sp>
    </p:spTree>
    <p:extLst>
      <p:ext uri="{BB962C8B-B14F-4D97-AF65-F5344CB8AC3E}">
        <p14:creationId xmlns:p14="http://schemas.microsoft.com/office/powerpoint/2010/main" val="30698453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Confetti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a:extLst>
              <a:ext uri="{FF2B5EF4-FFF2-40B4-BE49-F238E27FC236}">
                <a16:creationId xmlns:a16="http://schemas.microsoft.com/office/drawing/2014/main" id="{C813651F-C7B8-4520-9C8D-0F96392DACE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489"/>
          <a:stretch/>
        </p:blipFill>
        <p:spPr>
          <a:xfrm>
            <a:off x="0" y="0"/>
            <a:ext cx="12192000" cy="6858000"/>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a:blip r:embed="rId3"/>
          <a:stretch>
            <a:fillRect/>
          </a:stretch>
        </p:blipFill>
        <p:spPr>
          <a:xfrm>
            <a:off x="0" y="0"/>
            <a:ext cx="12192000" cy="6857999"/>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4" name="Title 3">
            <a:extLst>
              <a:ext uri="{FF2B5EF4-FFF2-40B4-BE49-F238E27FC236}">
                <a16:creationId xmlns:a16="http://schemas.microsoft.com/office/drawing/2014/main" id="{25185792-0492-4F2B-987A-01151770AB33}"/>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5" name="Subtitle 2">
            <a:extLst>
              <a:ext uri="{FF2B5EF4-FFF2-40B4-BE49-F238E27FC236}">
                <a16:creationId xmlns:a16="http://schemas.microsoft.com/office/drawing/2014/main" id="{FF35248C-EEC5-4433-AFE5-F92FD4F3AD93}"/>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6" name="Text Placeholder 37">
            <a:extLst>
              <a:ext uri="{FF2B5EF4-FFF2-40B4-BE49-F238E27FC236}">
                <a16:creationId xmlns:a16="http://schemas.microsoft.com/office/drawing/2014/main" id="{92665F91-D2D8-4CEF-B526-8C7CBAC20871}"/>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37668304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ouble Header, Circle">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6FFE816-F799-46CC-8EFA-5FE4A123E23D}"/>
              </a:ext>
            </a:extLst>
          </p:cNvPr>
          <p:cNvSpPr>
            <a:spLocks noGrp="1"/>
          </p:cNvSpPr>
          <p:nvPr>
            <p:ph type="sldNum" sz="quarter" idx="15"/>
          </p:nvPr>
        </p:nvSpPr>
        <p:spPr/>
        <p:txBody>
          <a:bodyPr/>
          <a:lstStyle/>
          <a:p>
            <a:fld id="{3787542D-5C6B-4EB3-96EB-9B37C3D5D2F8}" type="slidenum">
              <a:rPr lang="en-GB" smtClean="0"/>
              <a:t>‹#›</a:t>
            </a:fld>
            <a:endParaRPr lang="en-GB"/>
          </a:p>
        </p:txBody>
      </p:sp>
      <p:pic>
        <p:nvPicPr>
          <p:cNvPr id="8" name="Picture 7">
            <a:extLst>
              <a:ext uri="{FF2B5EF4-FFF2-40B4-BE49-F238E27FC236}">
                <a16:creationId xmlns:a16="http://schemas.microsoft.com/office/drawing/2014/main" id="{68C40377-6254-43F2-8398-4A4F34B1E42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1" name="Rectangle 10">
            <a:extLst>
              <a:ext uri="{FF2B5EF4-FFF2-40B4-BE49-F238E27FC236}">
                <a16:creationId xmlns:a16="http://schemas.microsoft.com/office/drawing/2014/main" id="{B7EBC413-65A5-4E69-8650-5FCA573E240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5" name="Picture 14">
            <a:extLst>
              <a:ext uri="{FF2B5EF4-FFF2-40B4-BE49-F238E27FC236}">
                <a16:creationId xmlns:a16="http://schemas.microsoft.com/office/drawing/2014/main" id="{F55BA0EE-27F6-4A66-97D6-E258D7098151}"/>
              </a:ext>
            </a:extLst>
          </p:cNvPr>
          <p:cNvPicPr>
            <a:picLocks noChangeAspect="1"/>
          </p:cNvPicPr>
          <p:nvPr userDrawn="1"/>
        </p:nvPicPr>
        <p:blipFill rotWithShape="1">
          <a:blip r:embed="rId3"/>
          <a:srcRect t="26635"/>
          <a:stretch/>
        </p:blipFill>
        <p:spPr>
          <a:xfrm>
            <a:off x="9704211" y="0"/>
            <a:ext cx="2001788" cy="1468614"/>
          </a:xfrm>
          <a:prstGeom prst="rect">
            <a:avLst/>
          </a:prstGeom>
        </p:spPr>
      </p:pic>
      <p:sp>
        <p:nvSpPr>
          <p:cNvPr id="9" name="Title 1">
            <a:extLst>
              <a:ext uri="{FF2B5EF4-FFF2-40B4-BE49-F238E27FC236}">
                <a16:creationId xmlns:a16="http://schemas.microsoft.com/office/drawing/2014/main" id="{8D4E0485-540D-4E30-879D-601083F3883D}"/>
              </a:ext>
            </a:extLst>
          </p:cNvPr>
          <p:cNvSpPr>
            <a:spLocks noGrp="1"/>
          </p:cNvSpPr>
          <p:nvPr>
            <p:ph type="title" hasCustomPrompt="1"/>
          </p:nvPr>
        </p:nvSpPr>
        <p:spPr>
          <a:xfrm>
            <a:off x="486000" y="377055"/>
            <a:ext cx="8861199" cy="1050665"/>
          </a:xfrm>
          <a:prstGeom prst="rect">
            <a:avLst/>
          </a:prstGeom>
        </p:spPr>
        <p:txBody>
          <a:bodyPr lIns="0" tIns="0" rIns="0" bIns="0"/>
          <a:lstStyle>
            <a:lvl1pPr>
              <a:lnSpc>
                <a:spcPct val="100000"/>
              </a:lnSpc>
              <a:defRPr sz="3600" b="1" cap="all" spc="-100" baseline="0">
                <a:latin typeface="+mj-lt"/>
              </a:defRPr>
            </a:lvl1pPr>
          </a:lstStyle>
          <a:p>
            <a:r>
              <a:rPr lang="en-US" dirty="0"/>
              <a:t>TEXT-ONLY, </a:t>
            </a:r>
            <a:br>
              <a:rPr lang="en-US" dirty="0"/>
            </a:br>
            <a:r>
              <a:rPr lang="en-US" dirty="0"/>
              <a:t>double title, circle</a:t>
            </a:r>
            <a:endParaRPr lang="en-GB" dirty="0"/>
          </a:p>
        </p:txBody>
      </p:sp>
      <p:sp>
        <p:nvSpPr>
          <p:cNvPr id="10" name="Text Placeholder 6">
            <a:extLst>
              <a:ext uri="{FF2B5EF4-FFF2-40B4-BE49-F238E27FC236}">
                <a16:creationId xmlns:a16="http://schemas.microsoft.com/office/drawing/2014/main" id="{36E295BD-73FC-4681-840C-AE6DB884664C}"/>
              </a:ext>
            </a:extLst>
          </p:cNvPr>
          <p:cNvSpPr>
            <a:spLocks noGrp="1"/>
          </p:cNvSpPr>
          <p:nvPr>
            <p:ph type="body" sz="quarter" idx="11" hasCustomPrompt="1"/>
          </p:nvPr>
        </p:nvSpPr>
        <p:spPr>
          <a:xfrm>
            <a:off x="486001" y="1478542"/>
            <a:ext cx="8861198" cy="265988"/>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7" name="Content Placeholder 2">
            <a:extLst>
              <a:ext uri="{FF2B5EF4-FFF2-40B4-BE49-F238E27FC236}">
                <a16:creationId xmlns:a16="http://schemas.microsoft.com/office/drawing/2014/main" id="{8B686332-D030-4EC8-875A-966381865AE8}"/>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818475182"/>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Single Header, Wave">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F829B6-8F65-9C49-8B56-C81689650C91}"/>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no icon</a:t>
            </a:r>
            <a:endParaRPr lang="en-GB" dirty="0"/>
          </a:p>
        </p:txBody>
      </p:sp>
      <p:sp>
        <p:nvSpPr>
          <p:cNvPr id="7" name="Text Placeholder 6">
            <a:extLst>
              <a:ext uri="{FF2B5EF4-FFF2-40B4-BE49-F238E27FC236}">
                <a16:creationId xmlns:a16="http://schemas.microsoft.com/office/drawing/2014/main" id="{A6526A71-AA71-0340-ADDE-15A0DA0261A2}"/>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92369665-BC8A-471B-B121-B84A3BF08535}"/>
              </a:ext>
            </a:extLst>
          </p:cNvPr>
          <p:cNvSpPr>
            <a:spLocks noGrp="1"/>
          </p:cNvSpPr>
          <p:nvPr>
            <p:ph type="sldNum" sz="quarter" idx="15"/>
          </p:nvPr>
        </p:nvSpPr>
        <p:spPr/>
        <p:txBody>
          <a:bodyPr/>
          <a:lstStyle/>
          <a:p>
            <a:fld id="{3787542D-5C6B-4EB3-96EB-9B37C3D5D2F8}" type="slidenum">
              <a:rPr lang="en-GB" smtClean="0"/>
              <a:t>‹#›</a:t>
            </a:fld>
            <a:endParaRPr lang="en-GB"/>
          </a:p>
        </p:txBody>
      </p:sp>
      <p:pic>
        <p:nvPicPr>
          <p:cNvPr id="12" name="Picture 11">
            <a:extLst>
              <a:ext uri="{FF2B5EF4-FFF2-40B4-BE49-F238E27FC236}">
                <a16:creationId xmlns:a16="http://schemas.microsoft.com/office/drawing/2014/main" id="{F3460EA9-D4DD-4016-B2DB-8443B4C3EB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9" name="Rectangle 8">
            <a:extLst>
              <a:ext uri="{FF2B5EF4-FFF2-40B4-BE49-F238E27FC236}">
                <a16:creationId xmlns:a16="http://schemas.microsoft.com/office/drawing/2014/main" id="{4E8C924B-FE6C-4195-94BA-9C7F88E4620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Content Placeholder 2">
            <a:extLst>
              <a:ext uri="{FF2B5EF4-FFF2-40B4-BE49-F238E27FC236}">
                <a16:creationId xmlns:a16="http://schemas.microsoft.com/office/drawing/2014/main" id="{0B7C0097-4CB1-4893-9CED-D822C48935FF}"/>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44661892"/>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uote, Girl Imag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a:extLst>
              <a:ext uri="{FF2B5EF4-FFF2-40B4-BE49-F238E27FC236}">
                <a16:creationId xmlns:a16="http://schemas.microsoft.com/office/drawing/2014/main" id="{012EA357-3E31-4AC8-A81F-19BA3DEF251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298" b="2298"/>
          <a:stretch/>
        </p:blipFill>
        <p:spPr>
          <a:xfrm>
            <a:off x="0" y="1"/>
            <a:ext cx="12192000"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a:srcRect t="961" r="961"/>
          <a:stretch/>
        </p:blipFill>
        <p:spPr>
          <a:xfrm>
            <a:off x="0"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
        <p:nvSpPr>
          <p:cNvPr id="4" name="Text Placeholder 3">
            <a:extLst>
              <a:ext uri="{FF2B5EF4-FFF2-40B4-BE49-F238E27FC236}">
                <a16:creationId xmlns:a16="http://schemas.microsoft.com/office/drawing/2014/main" id="{9105E8E4-7741-47D8-84CE-F7C4DCDE00DB}"/>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bg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1956333395"/>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Quote, Blog Imag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9">
            <a:extLst>
              <a:ext uri="{FF2B5EF4-FFF2-40B4-BE49-F238E27FC236}">
                <a16:creationId xmlns:a16="http://schemas.microsoft.com/office/drawing/2014/main" id="{E8283299-30A7-4D60-A36B-6EC59CBA35A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6186" b="10899"/>
          <a:stretch/>
        </p:blipFill>
        <p:spPr>
          <a:xfrm>
            <a:off x="6455" y="1"/>
            <a:ext cx="12192000"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a:srcRect t="961" r="961"/>
          <a:stretch/>
        </p:blipFill>
        <p:spPr>
          <a:xfrm>
            <a:off x="-6455"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
        <p:nvSpPr>
          <p:cNvPr id="9" name="Text Placeholder 3">
            <a:extLst>
              <a:ext uri="{FF2B5EF4-FFF2-40B4-BE49-F238E27FC236}">
                <a16:creationId xmlns:a16="http://schemas.microsoft.com/office/drawing/2014/main" id="{521830E7-03D0-46A9-8A28-FD4191B0994B}"/>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bg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1286903210"/>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Building Imag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9" descr="A picture containing building&#10;&#10;Description automatically generated">
            <a:extLst>
              <a:ext uri="{FF2B5EF4-FFF2-40B4-BE49-F238E27FC236}">
                <a16:creationId xmlns:a16="http://schemas.microsoft.com/office/drawing/2014/main" id="{B3D6141F-6094-40A7-8BAD-509054435D4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71" b="7871"/>
          <a:stretch/>
        </p:blipFill>
        <p:spPr>
          <a:xfrm>
            <a:off x="-4431" y="0"/>
            <a:ext cx="12213771"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a:srcRect t="961" r="961"/>
          <a:stretch/>
        </p:blipFill>
        <p:spPr>
          <a:xfrm>
            <a:off x="-4431"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
        <p:nvSpPr>
          <p:cNvPr id="9" name="Text Placeholder 3">
            <a:extLst>
              <a:ext uri="{FF2B5EF4-FFF2-40B4-BE49-F238E27FC236}">
                <a16:creationId xmlns:a16="http://schemas.microsoft.com/office/drawing/2014/main" id="{1D4A7E7A-6B3E-42AC-9B8F-4D305DFF435E}"/>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bg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1893303170"/>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2A610B1-91B8-4286-A62C-13768BD19BF8}"/>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7" name="Rectangle 6">
            <a:extLst>
              <a:ext uri="{FF2B5EF4-FFF2-40B4-BE49-F238E27FC236}">
                <a16:creationId xmlns:a16="http://schemas.microsoft.com/office/drawing/2014/main" id="{9FC85945-97C1-4E9B-9C52-7EC5016A7577}"/>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a:extLst>
              <a:ext uri="{FF2B5EF4-FFF2-40B4-BE49-F238E27FC236}">
                <a16:creationId xmlns:a16="http://schemas.microsoft.com/office/drawing/2014/main" id="{2D1C964C-A1CD-41BD-AD80-BF152FEB6274}"/>
              </a:ext>
            </a:extLst>
          </p:cNvPr>
          <p:cNvPicPr>
            <a:picLocks noChangeAspect="1"/>
          </p:cNvPicPr>
          <p:nvPr userDrawn="1"/>
        </p:nvPicPr>
        <p:blipFill rotWithShape="1">
          <a:blip r:embed="rId4"/>
          <a:srcRect l="31024" t="1798"/>
          <a:stretch/>
        </p:blipFill>
        <p:spPr>
          <a:xfrm>
            <a:off x="0" y="0"/>
            <a:ext cx="1388962" cy="2352086"/>
          </a:xfrm>
          <a:prstGeom prst="rect">
            <a:avLst/>
          </a:prstGeom>
        </p:spPr>
      </p:pic>
      <p:sp>
        <p:nvSpPr>
          <p:cNvPr id="8" name="Text Placeholder 3">
            <a:extLst>
              <a:ext uri="{FF2B5EF4-FFF2-40B4-BE49-F238E27FC236}">
                <a16:creationId xmlns:a16="http://schemas.microsoft.com/office/drawing/2014/main" id="{D0654A42-9463-4E9E-86C0-6D7311D71D55}"/>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tx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3409165611"/>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Divider, Confeftti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9">
            <a:extLst>
              <a:ext uri="{FF2B5EF4-FFF2-40B4-BE49-F238E27FC236}">
                <a16:creationId xmlns:a16="http://schemas.microsoft.com/office/drawing/2014/main" id="{4DAE554D-0F0B-4DEF-AD6B-7F3AA8098CE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489"/>
          <a:stretch/>
        </p:blipFill>
        <p:spPr>
          <a:xfrm>
            <a:off x="0" y="0"/>
            <a:ext cx="12192000" cy="6858000"/>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0"/>
            <a:ext cx="12192000" cy="6873928"/>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2027270249"/>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Divider, Door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descr="A picture containing tree, outdoor, plant, red&#10;&#10;Description automatically generated">
            <a:extLst>
              <a:ext uri="{FF2B5EF4-FFF2-40B4-BE49-F238E27FC236}">
                <a16:creationId xmlns:a16="http://schemas.microsoft.com/office/drawing/2014/main" id="{F42B88DF-3DA6-4308-8BE2-F4872891C3D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511" b="4785"/>
          <a:stretch/>
        </p:blipFill>
        <p:spPr>
          <a:xfrm>
            <a:off x="1280" y="0"/>
            <a:ext cx="12192000" cy="6858001"/>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0"/>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622117811"/>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Divider, Happy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descr="A picture containing person&#10;&#10;Description automatically generated">
            <a:extLst>
              <a:ext uri="{FF2B5EF4-FFF2-40B4-BE49-F238E27FC236}">
                <a16:creationId xmlns:a16="http://schemas.microsoft.com/office/drawing/2014/main" id="{6C90C1B1-B377-4F6F-BEF7-C47A0D48349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4253"/>
          <a:stretch/>
        </p:blipFill>
        <p:spPr>
          <a:xfrm>
            <a:off x="0" y="0"/>
            <a:ext cx="12192000" cy="6858000"/>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0"/>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803072065"/>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Divider, Mail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descr="A picture containing text&#10;&#10;Description automatically generated">
            <a:extLst>
              <a:ext uri="{FF2B5EF4-FFF2-40B4-BE49-F238E27FC236}">
                <a16:creationId xmlns:a16="http://schemas.microsoft.com/office/drawing/2014/main" id="{AFB9357E-558F-428B-A5A6-0FB343B103F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469" b="12020"/>
          <a:stretch/>
        </p:blipFill>
        <p:spPr>
          <a:xfrm>
            <a:off x="0" y="0"/>
            <a:ext cx="12192000" cy="6857999"/>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1"/>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883532558"/>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Door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descr="A picture containing tree, outdoor, plant, red&#10;&#10;Description automatically generated">
            <a:extLst>
              <a:ext uri="{FF2B5EF4-FFF2-40B4-BE49-F238E27FC236}">
                <a16:creationId xmlns:a16="http://schemas.microsoft.com/office/drawing/2014/main" id="{E801FC8F-7965-4143-B463-4147C77A9F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511" b="4785"/>
          <a:stretch/>
        </p:blipFill>
        <p:spPr>
          <a:xfrm>
            <a:off x="0" y="0"/>
            <a:ext cx="12205313" cy="6858001"/>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rotWithShape="1">
          <a:blip r:embed="rId3"/>
          <a:srcRect b="961"/>
          <a:stretch/>
        </p:blipFill>
        <p:spPr>
          <a:xfrm>
            <a:off x="0" y="0"/>
            <a:ext cx="12205313" cy="6858000"/>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9" name="Title 3">
            <a:extLst>
              <a:ext uri="{FF2B5EF4-FFF2-40B4-BE49-F238E27FC236}">
                <a16:creationId xmlns:a16="http://schemas.microsoft.com/office/drawing/2014/main" id="{FE9BD497-5AAB-41B9-961A-40256A55BEA1}"/>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0" name="Subtitle 2">
            <a:extLst>
              <a:ext uri="{FF2B5EF4-FFF2-40B4-BE49-F238E27FC236}">
                <a16:creationId xmlns:a16="http://schemas.microsoft.com/office/drawing/2014/main" id="{242ABB38-0127-4B54-A205-65921DBE4C62}"/>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1" name="Text Placeholder 37">
            <a:extLst>
              <a:ext uri="{FF2B5EF4-FFF2-40B4-BE49-F238E27FC236}">
                <a16:creationId xmlns:a16="http://schemas.microsoft.com/office/drawing/2014/main" id="{88748023-B528-4F87-9694-5268B9129155}"/>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41942562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Reading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Picture 11">
            <a:extLst>
              <a:ext uri="{FF2B5EF4-FFF2-40B4-BE49-F238E27FC236}">
                <a16:creationId xmlns:a16="http://schemas.microsoft.com/office/drawing/2014/main" id="{66675FA5-F84C-4C90-B66A-4780FDD8664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142"/>
          <a:stretch/>
        </p:blipFill>
        <p:spPr>
          <a:xfrm>
            <a:off x="1" y="-9635"/>
            <a:ext cx="12192000" cy="6877270"/>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1" y="-19272"/>
            <a:ext cx="12191999" cy="6877272"/>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828933309"/>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Divider, Family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descr="A picture containing table, desk&#10;&#10;Description automatically generated">
            <a:extLst>
              <a:ext uri="{FF2B5EF4-FFF2-40B4-BE49-F238E27FC236}">
                <a16:creationId xmlns:a16="http://schemas.microsoft.com/office/drawing/2014/main" id="{59B92E07-D5AC-438D-8035-5AF4A87FE69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8751" b="6840"/>
          <a:stretch/>
        </p:blipFill>
        <p:spPr>
          <a:xfrm>
            <a:off x="0" y="0"/>
            <a:ext cx="12192000" cy="6857999"/>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1"/>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2354813177"/>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2DFAEB6-D87B-5748-9596-A7B509E92355}"/>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rgbClr val="000000"/>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10" name="Picture 9">
            <a:extLst>
              <a:ext uri="{FF2B5EF4-FFF2-40B4-BE49-F238E27FC236}">
                <a16:creationId xmlns:a16="http://schemas.microsoft.com/office/drawing/2014/main" id="{BAB61B32-6203-7141-A3BE-E8879E3EF5E4}"/>
              </a:ext>
            </a:extLst>
          </p:cNvPr>
          <p:cNvPicPr>
            <a:picLocks noChangeAspect="1"/>
          </p:cNvPicPr>
          <p:nvPr userDrawn="1"/>
        </p:nvPicPr>
        <p:blipFill rotWithShape="1">
          <a:blip r:embed="rId3"/>
          <a:srcRect l="31024" t="1798"/>
          <a:stretch/>
        </p:blipFill>
        <p:spPr>
          <a:xfrm>
            <a:off x="0" y="0"/>
            <a:ext cx="1388962" cy="2352086"/>
          </a:xfrm>
          <a:prstGeom prst="rect">
            <a:avLst/>
          </a:prstGeom>
        </p:spPr>
      </p:pic>
      <p:pic>
        <p:nvPicPr>
          <p:cNvPr id="5" name="Picture 4">
            <a:extLst>
              <a:ext uri="{FF2B5EF4-FFF2-40B4-BE49-F238E27FC236}">
                <a16:creationId xmlns:a16="http://schemas.microsoft.com/office/drawing/2014/main" id="{7C4BBE08-932E-42F7-A655-A237F2DD1F7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6" name="Rectangle 5">
            <a:extLst>
              <a:ext uri="{FF2B5EF4-FFF2-40B4-BE49-F238E27FC236}">
                <a16:creationId xmlns:a16="http://schemas.microsoft.com/office/drawing/2014/main" id="{5F2FC916-1ED6-402E-A80D-CD430134C963}"/>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7341954"/>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p:bg>
      <p:bgRef idx="1001">
        <a:schemeClr val="bg1"/>
      </p:bgRef>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545D803-1BF7-40EA-AC91-081933E6A3B1}"/>
              </a:ext>
            </a:extLst>
          </p:cNvPr>
          <p:cNvSpPr>
            <a:spLocks noGrp="1"/>
          </p:cNvSpPr>
          <p:nvPr>
            <p:ph sz="quarter" idx="16" hasCustomPrompt="1"/>
          </p:nvPr>
        </p:nvSpPr>
        <p:spPr>
          <a:xfrm>
            <a:off x="424141" y="1779739"/>
            <a:ext cx="5452876" cy="4428787"/>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Slide Number Placeholder 3">
            <a:extLst>
              <a:ext uri="{FF2B5EF4-FFF2-40B4-BE49-F238E27FC236}">
                <a16:creationId xmlns:a16="http://schemas.microsoft.com/office/drawing/2014/main" id="{F5F2191B-F9B2-4D52-B126-519167AFCB79}"/>
              </a:ext>
            </a:extLst>
          </p:cNvPr>
          <p:cNvSpPr>
            <a:spLocks noGrp="1"/>
          </p:cNvSpPr>
          <p:nvPr>
            <p:ph type="sldNum" sz="quarter" idx="19"/>
          </p:nvPr>
        </p:nvSpPr>
        <p:spPr/>
        <p:txBody>
          <a:bodyPr/>
          <a:lstStyle/>
          <a:p>
            <a:fld id="{3787542D-5C6B-4EB3-96EB-9B37C3D5D2F8}" type="slidenum">
              <a:rPr lang="en-GB" smtClean="0"/>
              <a:t>‹#›</a:t>
            </a:fld>
            <a:endParaRPr lang="en-GB"/>
          </a:p>
        </p:txBody>
      </p:sp>
      <p:pic>
        <p:nvPicPr>
          <p:cNvPr id="12" name="Picture 11">
            <a:extLst>
              <a:ext uri="{FF2B5EF4-FFF2-40B4-BE49-F238E27FC236}">
                <a16:creationId xmlns:a16="http://schemas.microsoft.com/office/drawing/2014/main" id="{30E8CAE5-9552-4F56-BD9E-0EA1626B371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0" name="Rectangle 9">
            <a:extLst>
              <a:ext uri="{FF2B5EF4-FFF2-40B4-BE49-F238E27FC236}">
                <a16:creationId xmlns:a16="http://schemas.microsoft.com/office/drawing/2014/main" id="{3B1A7618-3887-4838-98CE-FDFA033A94BE}"/>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a:extLst>
              <a:ext uri="{FF2B5EF4-FFF2-40B4-BE49-F238E27FC236}">
                <a16:creationId xmlns:a16="http://schemas.microsoft.com/office/drawing/2014/main" id="{247F5898-E811-49FE-9FB9-91A9366B7AA4}"/>
              </a:ext>
            </a:extLst>
          </p:cNvPr>
          <p:cNvPicPr>
            <a:picLocks noChangeAspect="1"/>
          </p:cNvPicPr>
          <p:nvPr userDrawn="1"/>
        </p:nvPicPr>
        <p:blipFill rotWithShape="1">
          <a:blip r:embed="rId3"/>
          <a:srcRect t="26635"/>
          <a:stretch/>
        </p:blipFill>
        <p:spPr>
          <a:xfrm>
            <a:off x="9704211" y="0"/>
            <a:ext cx="2001788" cy="1468614"/>
          </a:xfrm>
          <a:prstGeom prst="rect">
            <a:avLst/>
          </a:prstGeom>
        </p:spPr>
      </p:pic>
      <p:sp>
        <p:nvSpPr>
          <p:cNvPr id="16" name="Title 1">
            <a:extLst>
              <a:ext uri="{FF2B5EF4-FFF2-40B4-BE49-F238E27FC236}">
                <a16:creationId xmlns:a16="http://schemas.microsoft.com/office/drawing/2014/main" id="{241B46AD-0363-49D0-9A55-12F4487A1770}"/>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lide, 2 columns</a:t>
            </a:r>
            <a:endParaRPr lang="en-GB" dirty="0"/>
          </a:p>
        </p:txBody>
      </p:sp>
      <p:sp>
        <p:nvSpPr>
          <p:cNvPr id="17" name="Text Placeholder 6">
            <a:extLst>
              <a:ext uri="{FF2B5EF4-FFF2-40B4-BE49-F238E27FC236}">
                <a16:creationId xmlns:a16="http://schemas.microsoft.com/office/drawing/2014/main" id="{700C11B1-45C3-463E-A925-394850B1A6A1}"/>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5" name="Content Placeholder 2">
            <a:extLst>
              <a:ext uri="{FF2B5EF4-FFF2-40B4-BE49-F238E27FC236}">
                <a16:creationId xmlns:a16="http://schemas.microsoft.com/office/drawing/2014/main" id="{BC9C4766-C987-4787-8811-9BA501FABE58}"/>
              </a:ext>
            </a:extLst>
          </p:cNvPr>
          <p:cNvSpPr>
            <a:spLocks noGrp="1"/>
          </p:cNvSpPr>
          <p:nvPr>
            <p:ph sz="quarter" idx="20" hasCustomPrompt="1"/>
          </p:nvPr>
        </p:nvSpPr>
        <p:spPr>
          <a:xfrm>
            <a:off x="6279757" y="1779739"/>
            <a:ext cx="5452876" cy="4428787"/>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086737330"/>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Right">
    <p:bg>
      <p:bgRef idx="1001">
        <a:schemeClr val="bg1"/>
      </p:bgRef>
    </p:bg>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5D77039F-4547-B64C-9F4A-B0B616043C02}"/>
              </a:ext>
            </a:extLst>
          </p:cNvPr>
          <p:cNvSpPr>
            <a:spLocks noGrp="1"/>
          </p:cNvSpPr>
          <p:nvPr>
            <p:ph type="pic" sz="quarter" idx="13" hasCustomPrompt="1"/>
          </p:nvPr>
        </p:nvSpPr>
        <p:spPr>
          <a:xfrm>
            <a:off x="6095997" y="0"/>
            <a:ext cx="6096003" cy="68580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pic>
        <p:nvPicPr>
          <p:cNvPr id="7" name="Picture 6">
            <a:extLst>
              <a:ext uri="{FF2B5EF4-FFF2-40B4-BE49-F238E27FC236}">
                <a16:creationId xmlns:a16="http://schemas.microsoft.com/office/drawing/2014/main" id="{5575CACC-D8E6-429F-B461-2AD69D5E940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4" name="Slide Number Placeholder 3">
            <a:extLst>
              <a:ext uri="{FF2B5EF4-FFF2-40B4-BE49-F238E27FC236}">
                <a16:creationId xmlns:a16="http://schemas.microsoft.com/office/drawing/2014/main" id="{7D8EA5AD-0373-4832-9455-A2EA79A24CBA}"/>
              </a:ext>
            </a:extLst>
          </p:cNvPr>
          <p:cNvSpPr>
            <a:spLocks noGrp="1"/>
          </p:cNvSpPr>
          <p:nvPr>
            <p:ph type="sldNum" sz="quarter" idx="16"/>
          </p:nvPr>
        </p:nvSpPr>
        <p:spPr/>
        <p:txBody>
          <a:bodyPr/>
          <a:lstStyle/>
          <a:p>
            <a:fld id="{3787542D-5C6B-4EB3-96EB-9B37C3D5D2F8}" type="slidenum">
              <a:rPr lang="en-GB" smtClean="0"/>
              <a:t>‹#›</a:t>
            </a:fld>
            <a:endParaRPr lang="en-GB"/>
          </a:p>
        </p:txBody>
      </p:sp>
      <p:sp>
        <p:nvSpPr>
          <p:cNvPr id="8" name="Rectangle 7">
            <a:extLst>
              <a:ext uri="{FF2B5EF4-FFF2-40B4-BE49-F238E27FC236}">
                <a16:creationId xmlns:a16="http://schemas.microsoft.com/office/drawing/2014/main" id="{9CE82FAA-2779-4023-94E9-577DEB0536F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1">
            <a:extLst>
              <a:ext uri="{FF2B5EF4-FFF2-40B4-BE49-F238E27FC236}">
                <a16:creationId xmlns:a16="http://schemas.microsoft.com/office/drawing/2014/main" id="{C95D6172-C0E9-4E3B-8F0F-CAA09AEA1364}"/>
              </a:ext>
            </a:extLst>
          </p:cNvPr>
          <p:cNvSpPr>
            <a:spLocks noGrp="1"/>
          </p:cNvSpPr>
          <p:nvPr>
            <p:ph type="title" hasCustomPrompt="1"/>
          </p:nvPr>
        </p:nvSpPr>
        <p:spPr>
          <a:xfrm>
            <a:off x="486000" y="377055"/>
            <a:ext cx="5276625" cy="1050665"/>
          </a:xfrm>
          <a:prstGeom prst="rect">
            <a:avLst/>
          </a:prstGeom>
        </p:spPr>
        <p:txBody>
          <a:bodyPr lIns="0" tIns="0" rIns="0" bIns="0"/>
          <a:lstStyle>
            <a:lvl1pPr>
              <a:lnSpc>
                <a:spcPct val="100000"/>
              </a:lnSpc>
              <a:defRPr sz="3600" b="1" cap="all" spc="-100" baseline="0">
                <a:latin typeface="+mj-lt"/>
              </a:defRPr>
            </a:lvl1pPr>
          </a:lstStyle>
          <a:p>
            <a:r>
              <a:rPr lang="en-US" dirty="0"/>
              <a:t>TEXT, Image Right, 2 columns</a:t>
            </a:r>
            <a:endParaRPr lang="en-GB" dirty="0"/>
          </a:p>
        </p:txBody>
      </p:sp>
      <p:sp>
        <p:nvSpPr>
          <p:cNvPr id="12" name="Content Placeholder 2">
            <a:extLst>
              <a:ext uri="{FF2B5EF4-FFF2-40B4-BE49-F238E27FC236}">
                <a16:creationId xmlns:a16="http://schemas.microsoft.com/office/drawing/2014/main" id="{87AF0242-6BDB-4BD8-A348-BBFF21B1E015}"/>
              </a:ext>
            </a:extLst>
          </p:cNvPr>
          <p:cNvSpPr>
            <a:spLocks noGrp="1"/>
          </p:cNvSpPr>
          <p:nvPr>
            <p:ph sz="quarter" idx="17" hasCustomPrompt="1"/>
          </p:nvPr>
        </p:nvSpPr>
        <p:spPr>
          <a:xfrm>
            <a:off x="424142" y="1779739"/>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216614260"/>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Left">
    <p:bg>
      <p:bgRef idx="1001">
        <a:schemeClr val="bg1"/>
      </p:bgRef>
    </p:bg>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5D77039F-4547-B64C-9F4A-B0B616043C02}"/>
              </a:ext>
            </a:extLst>
          </p:cNvPr>
          <p:cNvSpPr>
            <a:spLocks noGrp="1"/>
          </p:cNvSpPr>
          <p:nvPr>
            <p:ph type="pic" sz="quarter" idx="13" hasCustomPrompt="1"/>
          </p:nvPr>
        </p:nvSpPr>
        <p:spPr>
          <a:xfrm>
            <a:off x="0" y="0"/>
            <a:ext cx="6096003" cy="68580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sp>
        <p:nvSpPr>
          <p:cNvPr id="2" name="Slide Number Placeholder 1">
            <a:extLst>
              <a:ext uri="{FF2B5EF4-FFF2-40B4-BE49-F238E27FC236}">
                <a16:creationId xmlns:a16="http://schemas.microsoft.com/office/drawing/2014/main" id="{E57EC939-1D4E-4164-AADE-06DCD3187ABB}"/>
              </a:ext>
            </a:extLst>
          </p:cNvPr>
          <p:cNvSpPr>
            <a:spLocks noGrp="1"/>
          </p:cNvSpPr>
          <p:nvPr>
            <p:ph type="sldNum" sz="quarter" idx="15"/>
          </p:nvPr>
        </p:nvSpPr>
        <p:spPr/>
        <p:txBody>
          <a:bodyPr/>
          <a:lstStyle/>
          <a:p>
            <a:fld id="{3787542D-5C6B-4EB3-96EB-9B37C3D5D2F8}" type="slidenum">
              <a:rPr lang="en-GB" smtClean="0"/>
              <a:t>‹#›</a:t>
            </a:fld>
            <a:endParaRPr lang="en-GB"/>
          </a:p>
        </p:txBody>
      </p:sp>
      <p:pic>
        <p:nvPicPr>
          <p:cNvPr id="11" name="Picture 10">
            <a:extLst>
              <a:ext uri="{FF2B5EF4-FFF2-40B4-BE49-F238E27FC236}">
                <a16:creationId xmlns:a16="http://schemas.microsoft.com/office/drawing/2014/main" id="{2B80E9B2-1ED7-480C-8C84-9C622309FE7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0213"/>
            <a:ext cx="583849" cy="362932"/>
          </a:xfrm>
          <a:prstGeom prst="rect">
            <a:avLst/>
          </a:prstGeom>
        </p:spPr>
      </p:pic>
      <p:sp>
        <p:nvSpPr>
          <p:cNvPr id="8" name="Title 1">
            <a:extLst>
              <a:ext uri="{FF2B5EF4-FFF2-40B4-BE49-F238E27FC236}">
                <a16:creationId xmlns:a16="http://schemas.microsoft.com/office/drawing/2014/main" id="{15C234EB-3454-43CE-B3CD-063C27C7B647}"/>
              </a:ext>
            </a:extLst>
          </p:cNvPr>
          <p:cNvSpPr txBox="1">
            <a:spLocks/>
          </p:cNvSpPr>
          <p:nvPr userDrawn="1"/>
        </p:nvSpPr>
        <p:spPr>
          <a:xfrm>
            <a:off x="6415753" y="377055"/>
            <a:ext cx="5276625"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TEXT, Image left, 2 columns</a:t>
            </a:r>
            <a:endParaRPr lang="en-GB" dirty="0"/>
          </a:p>
        </p:txBody>
      </p:sp>
      <p:sp>
        <p:nvSpPr>
          <p:cNvPr id="10" name="Content Placeholder 2">
            <a:extLst>
              <a:ext uri="{FF2B5EF4-FFF2-40B4-BE49-F238E27FC236}">
                <a16:creationId xmlns:a16="http://schemas.microsoft.com/office/drawing/2014/main" id="{B3168C22-ABDD-4158-AE3B-9D09F0F66457}"/>
              </a:ext>
            </a:extLst>
          </p:cNvPr>
          <p:cNvSpPr>
            <a:spLocks noGrp="1"/>
          </p:cNvSpPr>
          <p:nvPr>
            <p:ph sz="quarter" idx="17" hasCustomPrompt="1"/>
          </p:nvPr>
        </p:nvSpPr>
        <p:spPr>
          <a:xfrm>
            <a:off x="6480112" y="1783200"/>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179092301"/>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adrants">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A55C5423-B0BC-4B3A-8B1C-E8B29CF73B39}"/>
              </a:ext>
            </a:extLst>
          </p:cNvPr>
          <p:cNvSpPr>
            <a:spLocks noGrp="1"/>
          </p:cNvSpPr>
          <p:nvPr>
            <p:ph type="pic" sz="quarter" idx="13" hasCustomPrompt="1"/>
          </p:nvPr>
        </p:nvSpPr>
        <p:spPr>
          <a:xfrm>
            <a:off x="0" y="0"/>
            <a:ext cx="6062961" cy="33383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sp>
        <p:nvSpPr>
          <p:cNvPr id="5" name="Slide Number Placeholder 2">
            <a:extLst>
              <a:ext uri="{FF2B5EF4-FFF2-40B4-BE49-F238E27FC236}">
                <a16:creationId xmlns:a16="http://schemas.microsoft.com/office/drawing/2014/main" id="{4927F751-04E0-47BC-AF64-AA7D969C6505}"/>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8" name="Picture Placeholder 4">
            <a:extLst>
              <a:ext uri="{FF2B5EF4-FFF2-40B4-BE49-F238E27FC236}">
                <a16:creationId xmlns:a16="http://schemas.microsoft.com/office/drawing/2014/main" id="{637B374C-4DE5-4B68-ABCC-646D992BEB28}"/>
              </a:ext>
            </a:extLst>
          </p:cNvPr>
          <p:cNvSpPr>
            <a:spLocks noGrp="1"/>
          </p:cNvSpPr>
          <p:nvPr>
            <p:ph type="pic" sz="quarter" idx="15" hasCustomPrompt="1"/>
          </p:nvPr>
        </p:nvSpPr>
        <p:spPr>
          <a:xfrm>
            <a:off x="6065438" y="3338300"/>
            <a:ext cx="6126562" cy="35197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pic>
        <p:nvPicPr>
          <p:cNvPr id="10" name="Picture 9">
            <a:extLst>
              <a:ext uri="{FF2B5EF4-FFF2-40B4-BE49-F238E27FC236}">
                <a16:creationId xmlns:a16="http://schemas.microsoft.com/office/drawing/2014/main" id="{0F59BEFC-AABE-43C1-B155-999F122614E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7" name="Text Placeholder 6">
            <a:extLst>
              <a:ext uri="{FF2B5EF4-FFF2-40B4-BE49-F238E27FC236}">
                <a16:creationId xmlns:a16="http://schemas.microsoft.com/office/drawing/2014/main" id="{CB0B8B5A-C547-4570-9238-68061E53F772}"/>
              </a:ext>
            </a:extLst>
          </p:cNvPr>
          <p:cNvSpPr>
            <a:spLocks noGrp="1"/>
          </p:cNvSpPr>
          <p:nvPr>
            <p:ph type="body" sz="quarter" idx="22" hasCustomPrompt="1"/>
          </p:nvPr>
        </p:nvSpPr>
        <p:spPr>
          <a:xfrm>
            <a:off x="6480175" y="1781175"/>
            <a:ext cx="5276624" cy="1370013"/>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text styles</a:t>
            </a:r>
          </a:p>
          <a:p>
            <a:pPr lvl="1"/>
            <a:r>
              <a:rPr lang="en-US" dirty="0"/>
              <a:t>Second level</a:t>
            </a:r>
          </a:p>
          <a:p>
            <a:pPr lvl="2"/>
            <a:r>
              <a:rPr lang="en-US" dirty="0"/>
              <a:t>Third level</a:t>
            </a:r>
          </a:p>
          <a:p>
            <a:pPr lvl="3"/>
            <a:r>
              <a:rPr lang="en-US" dirty="0"/>
              <a:t>Fourth level</a:t>
            </a:r>
          </a:p>
        </p:txBody>
      </p:sp>
      <p:sp>
        <p:nvSpPr>
          <p:cNvPr id="11" name="Rectangle 10">
            <a:extLst>
              <a:ext uri="{FF2B5EF4-FFF2-40B4-BE49-F238E27FC236}">
                <a16:creationId xmlns:a16="http://schemas.microsoft.com/office/drawing/2014/main" id="{73FB6EAE-A378-4EA6-9478-F2F0740EA54F}"/>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itle 1">
            <a:extLst>
              <a:ext uri="{FF2B5EF4-FFF2-40B4-BE49-F238E27FC236}">
                <a16:creationId xmlns:a16="http://schemas.microsoft.com/office/drawing/2014/main" id="{CADDF625-A76B-495A-8620-28A80A9A1ED2}"/>
              </a:ext>
            </a:extLst>
          </p:cNvPr>
          <p:cNvSpPr txBox="1">
            <a:spLocks/>
          </p:cNvSpPr>
          <p:nvPr userDrawn="1"/>
        </p:nvSpPr>
        <p:spPr>
          <a:xfrm>
            <a:off x="6415753" y="377055"/>
            <a:ext cx="5276625"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Quadrants, title here</a:t>
            </a:r>
            <a:endParaRPr lang="en-GB" dirty="0"/>
          </a:p>
        </p:txBody>
      </p:sp>
      <p:sp>
        <p:nvSpPr>
          <p:cNvPr id="14" name="Title 1">
            <a:extLst>
              <a:ext uri="{FF2B5EF4-FFF2-40B4-BE49-F238E27FC236}">
                <a16:creationId xmlns:a16="http://schemas.microsoft.com/office/drawing/2014/main" id="{7C1330A8-DF3E-41E3-AB7E-AB4557754C7E}"/>
              </a:ext>
            </a:extLst>
          </p:cNvPr>
          <p:cNvSpPr txBox="1">
            <a:spLocks/>
          </p:cNvSpPr>
          <p:nvPr userDrawn="1"/>
        </p:nvSpPr>
        <p:spPr>
          <a:xfrm>
            <a:off x="481942" y="3722747"/>
            <a:ext cx="5276625"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Quadrants, title here</a:t>
            </a:r>
            <a:endParaRPr lang="en-GB" dirty="0"/>
          </a:p>
        </p:txBody>
      </p:sp>
      <p:sp>
        <p:nvSpPr>
          <p:cNvPr id="16" name="Text Placeholder 6">
            <a:extLst>
              <a:ext uri="{FF2B5EF4-FFF2-40B4-BE49-F238E27FC236}">
                <a16:creationId xmlns:a16="http://schemas.microsoft.com/office/drawing/2014/main" id="{5C1B24B7-CA04-4E8D-B2B5-DC4E1636585E}"/>
              </a:ext>
            </a:extLst>
          </p:cNvPr>
          <p:cNvSpPr>
            <a:spLocks noGrp="1"/>
          </p:cNvSpPr>
          <p:nvPr>
            <p:ph type="body" sz="quarter" idx="24" hasCustomPrompt="1"/>
          </p:nvPr>
        </p:nvSpPr>
        <p:spPr>
          <a:xfrm>
            <a:off x="415267" y="4847569"/>
            <a:ext cx="5183188" cy="1370013"/>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963380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Stages">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B38A1E70-50BA-BA42-A218-ABC18C40C0A3}"/>
              </a:ext>
            </a:extLst>
          </p:cNvPr>
          <p:cNvPicPr>
            <a:picLocks noChangeAspect="1"/>
          </p:cNvPicPr>
          <p:nvPr userDrawn="1"/>
        </p:nvPicPr>
        <p:blipFill rotWithShape="1">
          <a:blip r:embed="rId2"/>
          <a:srcRect t="9162" r="17975"/>
          <a:stretch/>
        </p:blipFill>
        <p:spPr>
          <a:xfrm>
            <a:off x="9478657" y="0"/>
            <a:ext cx="2713343" cy="3574142"/>
          </a:xfrm>
          <a:prstGeom prst="rect">
            <a:avLst/>
          </a:prstGeom>
        </p:spPr>
      </p:pic>
      <p:sp>
        <p:nvSpPr>
          <p:cNvPr id="4" name="Rectangle 3">
            <a:extLst>
              <a:ext uri="{FF2B5EF4-FFF2-40B4-BE49-F238E27FC236}">
                <a16:creationId xmlns:a16="http://schemas.microsoft.com/office/drawing/2014/main" id="{09E337FF-EC20-FC4E-A512-80CDE51F4AC9}"/>
              </a:ext>
            </a:extLst>
          </p:cNvPr>
          <p:cNvSpPr/>
          <p:nvPr userDrawn="1"/>
        </p:nvSpPr>
        <p:spPr>
          <a:xfrm>
            <a:off x="1065230" y="2016563"/>
            <a:ext cx="3178125" cy="416121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2601221" y="6177783"/>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sp>
        <p:nvSpPr>
          <p:cNvPr id="36" name="Text Placeholder 35">
            <a:extLst>
              <a:ext uri="{FF2B5EF4-FFF2-40B4-BE49-F238E27FC236}">
                <a16:creationId xmlns:a16="http://schemas.microsoft.com/office/drawing/2014/main" id="{3081F068-E853-4A4F-9EFD-B29B742822AC}"/>
              </a:ext>
            </a:extLst>
          </p:cNvPr>
          <p:cNvSpPr>
            <a:spLocks noGrp="1"/>
          </p:cNvSpPr>
          <p:nvPr>
            <p:ph type="body" sz="quarter" idx="17" hasCustomPrompt="1"/>
          </p:nvPr>
        </p:nvSpPr>
        <p:spPr>
          <a:xfrm>
            <a:off x="1068064" y="2016564"/>
            <a:ext cx="296204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41" name="Text Placeholder 40">
            <a:extLst>
              <a:ext uri="{FF2B5EF4-FFF2-40B4-BE49-F238E27FC236}">
                <a16:creationId xmlns:a16="http://schemas.microsoft.com/office/drawing/2014/main" id="{6E092A17-E78C-9740-AB28-68C7E769D4D8}"/>
              </a:ext>
            </a:extLst>
          </p:cNvPr>
          <p:cNvSpPr>
            <a:spLocks noGrp="1"/>
          </p:cNvSpPr>
          <p:nvPr>
            <p:ph type="body" sz="quarter" idx="21"/>
          </p:nvPr>
        </p:nvSpPr>
        <p:spPr>
          <a:xfrm>
            <a:off x="1178351" y="3350872"/>
            <a:ext cx="2889854" cy="269894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pic>
        <p:nvPicPr>
          <p:cNvPr id="16" name="Picture 15">
            <a:extLst>
              <a:ext uri="{FF2B5EF4-FFF2-40B4-BE49-F238E27FC236}">
                <a16:creationId xmlns:a16="http://schemas.microsoft.com/office/drawing/2014/main" id="{24CCC52F-1463-4EBC-B99B-A373A1ECE4B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7" name="Slide Number Placeholder 1">
            <a:extLst>
              <a:ext uri="{FF2B5EF4-FFF2-40B4-BE49-F238E27FC236}">
                <a16:creationId xmlns:a16="http://schemas.microsoft.com/office/drawing/2014/main" id="{A7F3F838-60D3-4FEB-B2CA-08F82875A270}"/>
              </a:ext>
            </a:extLst>
          </p:cNvPr>
          <p:cNvSpPr txBox="1">
            <a:spLocks/>
          </p:cNvSpPr>
          <p:nvPr userDrawn="1"/>
        </p:nvSpPr>
        <p:spPr>
          <a:xfrm>
            <a:off x="9182100" y="6261100"/>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787542D-5C6B-4EB3-96EB-9B37C3D5D2F8}" type="slidenum">
              <a:rPr lang="en-GB" smtClean="0"/>
              <a:pPr/>
              <a:t>‹#›</a:t>
            </a:fld>
            <a:endParaRPr lang="en-GB"/>
          </a:p>
        </p:txBody>
      </p:sp>
      <p:sp>
        <p:nvSpPr>
          <p:cNvPr id="18" name="Rectangle 17">
            <a:extLst>
              <a:ext uri="{FF2B5EF4-FFF2-40B4-BE49-F238E27FC236}">
                <a16:creationId xmlns:a16="http://schemas.microsoft.com/office/drawing/2014/main" id="{53D576F0-DC67-4F7A-A308-E8A231AB271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itle 1">
            <a:extLst>
              <a:ext uri="{FF2B5EF4-FFF2-40B4-BE49-F238E27FC236}">
                <a16:creationId xmlns:a16="http://schemas.microsoft.com/office/drawing/2014/main" id="{AC7D8C70-D8D3-4616-8AD6-B7531CA66280}"/>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3 stages</a:t>
            </a:r>
            <a:endParaRPr lang="en-GB" dirty="0"/>
          </a:p>
        </p:txBody>
      </p:sp>
      <p:sp>
        <p:nvSpPr>
          <p:cNvPr id="20" name="Text Placeholder 6">
            <a:extLst>
              <a:ext uri="{FF2B5EF4-FFF2-40B4-BE49-F238E27FC236}">
                <a16:creationId xmlns:a16="http://schemas.microsoft.com/office/drawing/2014/main" id="{2BD0FB86-6CDA-4632-979A-2F4031FB20ED}"/>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21" name="Rectangle 20">
            <a:extLst>
              <a:ext uri="{FF2B5EF4-FFF2-40B4-BE49-F238E27FC236}">
                <a16:creationId xmlns:a16="http://schemas.microsoft.com/office/drawing/2014/main" id="{A8863C8E-9F0F-4046-A264-6A18A57D022C}"/>
              </a:ext>
            </a:extLst>
          </p:cNvPr>
          <p:cNvSpPr/>
          <p:nvPr userDrawn="1"/>
        </p:nvSpPr>
        <p:spPr>
          <a:xfrm>
            <a:off x="4500922" y="2016563"/>
            <a:ext cx="3178125" cy="416121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2" name="Text Placeholder 35">
            <a:extLst>
              <a:ext uri="{FF2B5EF4-FFF2-40B4-BE49-F238E27FC236}">
                <a16:creationId xmlns:a16="http://schemas.microsoft.com/office/drawing/2014/main" id="{7DB80790-1AF5-488C-A2EE-375E51A97FA9}"/>
              </a:ext>
            </a:extLst>
          </p:cNvPr>
          <p:cNvSpPr>
            <a:spLocks noGrp="1"/>
          </p:cNvSpPr>
          <p:nvPr>
            <p:ph type="body" sz="quarter" idx="22" hasCustomPrompt="1"/>
          </p:nvPr>
        </p:nvSpPr>
        <p:spPr>
          <a:xfrm>
            <a:off x="4513281" y="2016564"/>
            <a:ext cx="296204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24" name="Text Placeholder 40">
            <a:extLst>
              <a:ext uri="{FF2B5EF4-FFF2-40B4-BE49-F238E27FC236}">
                <a16:creationId xmlns:a16="http://schemas.microsoft.com/office/drawing/2014/main" id="{0E461C60-64BB-43A7-BA8C-34579F84CCE5}"/>
              </a:ext>
            </a:extLst>
          </p:cNvPr>
          <p:cNvSpPr>
            <a:spLocks noGrp="1"/>
          </p:cNvSpPr>
          <p:nvPr>
            <p:ph type="body" sz="quarter" idx="23"/>
          </p:nvPr>
        </p:nvSpPr>
        <p:spPr>
          <a:xfrm>
            <a:off x="4637988" y="3355229"/>
            <a:ext cx="2865909" cy="269894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25" name="Rectangle 24">
            <a:extLst>
              <a:ext uri="{FF2B5EF4-FFF2-40B4-BE49-F238E27FC236}">
                <a16:creationId xmlns:a16="http://schemas.microsoft.com/office/drawing/2014/main" id="{2A3E954C-0710-40FA-98A2-EB54FBFAE9A0}"/>
              </a:ext>
            </a:extLst>
          </p:cNvPr>
          <p:cNvSpPr/>
          <p:nvPr userDrawn="1"/>
        </p:nvSpPr>
        <p:spPr>
          <a:xfrm>
            <a:off x="7936614" y="2016563"/>
            <a:ext cx="3178125" cy="416121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6" name="Text Placeholder 35">
            <a:extLst>
              <a:ext uri="{FF2B5EF4-FFF2-40B4-BE49-F238E27FC236}">
                <a16:creationId xmlns:a16="http://schemas.microsoft.com/office/drawing/2014/main" id="{C5BBACFC-697B-4BAB-BD69-B117928B1BD8}"/>
              </a:ext>
            </a:extLst>
          </p:cNvPr>
          <p:cNvSpPr>
            <a:spLocks noGrp="1"/>
          </p:cNvSpPr>
          <p:nvPr>
            <p:ph type="body" sz="quarter" idx="24" hasCustomPrompt="1"/>
          </p:nvPr>
        </p:nvSpPr>
        <p:spPr>
          <a:xfrm>
            <a:off x="7939448" y="2016564"/>
            <a:ext cx="296204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27" name="Text Placeholder 40">
            <a:extLst>
              <a:ext uri="{FF2B5EF4-FFF2-40B4-BE49-F238E27FC236}">
                <a16:creationId xmlns:a16="http://schemas.microsoft.com/office/drawing/2014/main" id="{954A020B-FA48-4C89-898D-1129467DB388}"/>
              </a:ext>
            </a:extLst>
          </p:cNvPr>
          <p:cNvSpPr>
            <a:spLocks noGrp="1"/>
          </p:cNvSpPr>
          <p:nvPr>
            <p:ph type="body" sz="quarter" idx="25"/>
          </p:nvPr>
        </p:nvSpPr>
        <p:spPr>
          <a:xfrm>
            <a:off x="8107052" y="3350872"/>
            <a:ext cx="2832537" cy="269894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Tree>
    <p:extLst>
      <p:ext uri="{BB962C8B-B14F-4D97-AF65-F5344CB8AC3E}">
        <p14:creationId xmlns:p14="http://schemas.microsoft.com/office/powerpoint/2010/main" val="6875656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Stages">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B38A1E70-50BA-BA42-A218-ABC18C40C0A3}"/>
              </a:ext>
            </a:extLst>
          </p:cNvPr>
          <p:cNvPicPr>
            <a:picLocks noChangeAspect="1"/>
          </p:cNvPicPr>
          <p:nvPr userDrawn="1"/>
        </p:nvPicPr>
        <p:blipFill rotWithShape="1">
          <a:blip r:embed="rId2"/>
          <a:srcRect t="9162" r="17975"/>
          <a:stretch/>
        </p:blipFill>
        <p:spPr>
          <a:xfrm>
            <a:off x="9478657" y="0"/>
            <a:ext cx="2713343" cy="3574142"/>
          </a:xfrm>
          <a:prstGeom prst="rect">
            <a:avLst/>
          </a:prstGeom>
        </p:spPr>
      </p:pic>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sp>
        <p:nvSpPr>
          <p:cNvPr id="54" name="Rectangle 53">
            <a:extLst>
              <a:ext uri="{FF2B5EF4-FFF2-40B4-BE49-F238E27FC236}">
                <a16:creationId xmlns:a16="http://schemas.microsoft.com/office/drawing/2014/main" id="{C5413A5D-B0DB-4840-A6F5-293DCA8C23D9}"/>
              </a:ext>
            </a:extLst>
          </p:cNvPr>
          <p:cNvSpPr/>
          <p:nvPr userDrawn="1"/>
        </p:nvSpPr>
        <p:spPr>
          <a:xfrm>
            <a:off x="479259" y="2016564"/>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5" name="Rectangle 54">
            <a:extLst>
              <a:ext uri="{FF2B5EF4-FFF2-40B4-BE49-F238E27FC236}">
                <a16:creationId xmlns:a16="http://schemas.microsoft.com/office/drawing/2014/main" id="{8547ACD3-9D3A-184E-A273-6B9AD0E17160}"/>
              </a:ext>
            </a:extLst>
          </p:cNvPr>
          <p:cNvSpPr/>
          <p:nvPr userDrawn="1"/>
        </p:nvSpPr>
        <p:spPr>
          <a:xfrm>
            <a:off x="3361659" y="2016564"/>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83B1937D-5E8B-4442-A129-2CC064F9A1E0}"/>
              </a:ext>
            </a:extLst>
          </p:cNvPr>
          <p:cNvSpPr/>
          <p:nvPr userDrawn="1"/>
        </p:nvSpPr>
        <p:spPr>
          <a:xfrm>
            <a:off x="6244059" y="2016564"/>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57" name="Text Placeholder 35">
            <a:extLst>
              <a:ext uri="{FF2B5EF4-FFF2-40B4-BE49-F238E27FC236}">
                <a16:creationId xmlns:a16="http://schemas.microsoft.com/office/drawing/2014/main" id="{5804C198-EA49-C648-A91C-C264BEA21577}"/>
              </a:ext>
            </a:extLst>
          </p:cNvPr>
          <p:cNvSpPr>
            <a:spLocks noGrp="1"/>
          </p:cNvSpPr>
          <p:nvPr>
            <p:ph type="body" sz="quarter" idx="25" hasCustomPrompt="1"/>
          </p:nvPr>
        </p:nvSpPr>
        <p:spPr>
          <a:xfrm>
            <a:off x="479036" y="2016564"/>
            <a:ext cx="239787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8" name="Text Placeholder 35">
            <a:extLst>
              <a:ext uri="{FF2B5EF4-FFF2-40B4-BE49-F238E27FC236}">
                <a16:creationId xmlns:a16="http://schemas.microsoft.com/office/drawing/2014/main" id="{D9DE2891-000C-7A47-9395-327F4FFE972E}"/>
              </a:ext>
            </a:extLst>
          </p:cNvPr>
          <p:cNvSpPr>
            <a:spLocks noGrp="1"/>
          </p:cNvSpPr>
          <p:nvPr>
            <p:ph type="body" sz="quarter" idx="26" hasCustomPrompt="1"/>
          </p:nvPr>
        </p:nvSpPr>
        <p:spPr>
          <a:xfrm>
            <a:off x="3361656" y="2016564"/>
            <a:ext cx="239765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9" name="Text Placeholder 35">
            <a:extLst>
              <a:ext uri="{FF2B5EF4-FFF2-40B4-BE49-F238E27FC236}">
                <a16:creationId xmlns:a16="http://schemas.microsoft.com/office/drawing/2014/main" id="{144C8D64-11B4-554F-BD17-394B6F559EAD}"/>
              </a:ext>
            </a:extLst>
          </p:cNvPr>
          <p:cNvSpPr>
            <a:spLocks noGrp="1"/>
          </p:cNvSpPr>
          <p:nvPr>
            <p:ph type="body" sz="quarter" idx="27" hasCustomPrompt="1"/>
          </p:nvPr>
        </p:nvSpPr>
        <p:spPr>
          <a:xfrm>
            <a:off x="6244056" y="2016564"/>
            <a:ext cx="239765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0" name="Text Placeholder 40">
            <a:extLst>
              <a:ext uri="{FF2B5EF4-FFF2-40B4-BE49-F238E27FC236}">
                <a16:creationId xmlns:a16="http://schemas.microsoft.com/office/drawing/2014/main" id="{4A50721B-5180-6246-9B49-B012E18188B5}"/>
              </a:ext>
            </a:extLst>
          </p:cNvPr>
          <p:cNvSpPr>
            <a:spLocks noGrp="1"/>
          </p:cNvSpPr>
          <p:nvPr>
            <p:ph type="body" sz="quarter" idx="28"/>
          </p:nvPr>
        </p:nvSpPr>
        <p:spPr>
          <a:xfrm>
            <a:off x="654408" y="3350872"/>
            <a:ext cx="2222500" cy="252967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61" name="Text Placeholder 40">
            <a:extLst>
              <a:ext uri="{FF2B5EF4-FFF2-40B4-BE49-F238E27FC236}">
                <a16:creationId xmlns:a16="http://schemas.microsoft.com/office/drawing/2014/main" id="{5009098B-C9C2-6D4D-B4C8-66B13FEA524F}"/>
              </a:ext>
            </a:extLst>
          </p:cNvPr>
          <p:cNvSpPr>
            <a:spLocks noGrp="1"/>
          </p:cNvSpPr>
          <p:nvPr>
            <p:ph type="body" sz="quarter" idx="29"/>
          </p:nvPr>
        </p:nvSpPr>
        <p:spPr>
          <a:xfrm>
            <a:off x="3536808" y="3350872"/>
            <a:ext cx="2222500" cy="252967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62" name="Text Placeholder 40">
            <a:extLst>
              <a:ext uri="{FF2B5EF4-FFF2-40B4-BE49-F238E27FC236}">
                <a16:creationId xmlns:a16="http://schemas.microsoft.com/office/drawing/2014/main" id="{A5DF1411-B4B7-574E-9BAB-9A4186C43E81}"/>
              </a:ext>
            </a:extLst>
          </p:cNvPr>
          <p:cNvSpPr>
            <a:spLocks noGrp="1"/>
          </p:cNvSpPr>
          <p:nvPr>
            <p:ph type="body" sz="quarter" idx="30"/>
          </p:nvPr>
        </p:nvSpPr>
        <p:spPr>
          <a:xfrm>
            <a:off x="6419208" y="3350872"/>
            <a:ext cx="2222500" cy="252967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63" name="Rectangle 62">
            <a:extLst>
              <a:ext uri="{FF2B5EF4-FFF2-40B4-BE49-F238E27FC236}">
                <a16:creationId xmlns:a16="http://schemas.microsoft.com/office/drawing/2014/main" id="{6DA0BE2C-2F41-C94A-99E2-9E9C8539EC62}"/>
              </a:ext>
            </a:extLst>
          </p:cNvPr>
          <p:cNvSpPr/>
          <p:nvPr userDrawn="1"/>
        </p:nvSpPr>
        <p:spPr>
          <a:xfrm>
            <a:off x="9133199" y="2002478"/>
            <a:ext cx="2572799" cy="3991922"/>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64" name="Text Placeholder 35">
            <a:extLst>
              <a:ext uri="{FF2B5EF4-FFF2-40B4-BE49-F238E27FC236}">
                <a16:creationId xmlns:a16="http://schemas.microsoft.com/office/drawing/2014/main" id="{5615BD06-674B-6B41-A1B5-8A66AF698957}"/>
              </a:ext>
            </a:extLst>
          </p:cNvPr>
          <p:cNvSpPr>
            <a:spLocks noGrp="1"/>
          </p:cNvSpPr>
          <p:nvPr>
            <p:ph type="body" sz="quarter" idx="31" hasCustomPrompt="1"/>
          </p:nvPr>
        </p:nvSpPr>
        <p:spPr>
          <a:xfrm>
            <a:off x="9133195" y="2002478"/>
            <a:ext cx="239765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5" name="Text Placeholder 40">
            <a:extLst>
              <a:ext uri="{FF2B5EF4-FFF2-40B4-BE49-F238E27FC236}">
                <a16:creationId xmlns:a16="http://schemas.microsoft.com/office/drawing/2014/main" id="{A572828F-67C2-5748-B663-D94F10F66173}"/>
              </a:ext>
            </a:extLst>
          </p:cNvPr>
          <p:cNvSpPr>
            <a:spLocks noGrp="1"/>
          </p:cNvSpPr>
          <p:nvPr>
            <p:ph type="body" sz="quarter" idx="32"/>
          </p:nvPr>
        </p:nvSpPr>
        <p:spPr>
          <a:xfrm>
            <a:off x="9308348" y="3336786"/>
            <a:ext cx="2222500" cy="254376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pic>
        <p:nvPicPr>
          <p:cNvPr id="20" name="Picture 19">
            <a:extLst>
              <a:ext uri="{FF2B5EF4-FFF2-40B4-BE49-F238E27FC236}">
                <a16:creationId xmlns:a16="http://schemas.microsoft.com/office/drawing/2014/main" id="{AF2ADDD6-64C2-42E4-8BC8-1D19C8E1831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9" name="Rectangle 18">
            <a:extLst>
              <a:ext uri="{FF2B5EF4-FFF2-40B4-BE49-F238E27FC236}">
                <a16:creationId xmlns:a16="http://schemas.microsoft.com/office/drawing/2014/main" id="{1A375A71-02A2-4AE6-9C69-5955E9F54FC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itle 1">
            <a:extLst>
              <a:ext uri="{FF2B5EF4-FFF2-40B4-BE49-F238E27FC236}">
                <a16:creationId xmlns:a16="http://schemas.microsoft.com/office/drawing/2014/main" id="{4D82E014-C022-4946-BD0C-5DFBBCBF6347}"/>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4 stages</a:t>
            </a:r>
            <a:endParaRPr lang="en-GB" dirty="0"/>
          </a:p>
        </p:txBody>
      </p:sp>
      <p:sp>
        <p:nvSpPr>
          <p:cNvPr id="22" name="Text Placeholder 6">
            <a:extLst>
              <a:ext uri="{FF2B5EF4-FFF2-40B4-BE49-F238E27FC236}">
                <a16:creationId xmlns:a16="http://schemas.microsoft.com/office/drawing/2014/main" id="{7712F491-DD76-489B-BBD3-E024ECB9B850}"/>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16615423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 Stage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AF0EC8B-6944-7A47-9A1B-7C92B922EC63}"/>
              </a:ext>
            </a:extLst>
          </p:cNvPr>
          <p:cNvPicPr>
            <a:picLocks noChangeAspect="1"/>
          </p:cNvPicPr>
          <p:nvPr userDrawn="1"/>
        </p:nvPicPr>
        <p:blipFill rotWithShape="1">
          <a:blip r:embed="rId2"/>
          <a:srcRect r="42095" b="14017"/>
          <a:stretch/>
        </p:blipFill>
        <p:spPr>
          <a:xfrm>
            <a:off x="9265131" y="2511926"/>
            <a:ext cx="2926869" cy="4346074"/>
          </a:xfrm>
          <a:prstGeom prst="rect">
            <a:avLst/>
          </a:prstGeom>
        </p:spPr>
      </p:pic>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sp>
        <p:nvSpPr>
          <p:cNvPr id="30" name="Rectangle 29">
            <a:extLst>
              <a:ext uri="{FF2B5EF4-FFF2-40B4-BE49-F238E27FC236}">
                <a16:creationId xmlns:a16="http://schemas.microsoft.com/office/drawing/2014/main" id="{8B9FDD73-9E09-7945-9A46-BD5E2414CC7A}"/>
              </a:ext>
            </a:extLst>
          </p:cNvPr>
          <p:cNvSpPr/>
          <p:nvPr userDrawn="1"/>
        </p:nvSpPr>
        <p:spPr>
          <a:xfrm>
            <a:off x="479260"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1" name="Text Placeholder 35">
            <a:extLst>
              <a:ext uri="{FF2B5EF4-FFF2-40B4-BE49-F238E27FC236}">
                <a16:creationId xmlns:a16="http://schemas.microsoft.com/office/drawing/2014/main" id="{19C27A68-9FF1-5044-A2C5-4DBCD9AA900B}"/>
              </a:ext>
            </a:extLst>
          </p:cNvPr>
          <p:cNvSpPr>
            <a:spLocks noGrp="1"/>
          </p:cNvSpPr>
          <p:nvPr>
            <p:ph type="body" sz="quarter" idx="34" hasCustomPrompt="1"/>
          </p:nvPr>
        </p:nvSpPr>
        <p:spPr>
          <a:xfrm>
            <a:off x="479036"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32" name="Text Placeholder 40">
            <a:extLst>
              <a:ext uri="{FF2B5EF4-FFF2-40B4-BE49-F238E27FC236}">
                <a16:creationId xmlns:a16="http://schemas.microsoft.com/office/drawing/2014/main" id="{F7B29AC3-37AB-C743-BDD2-724C756910EE}"/>
              </a:ext>
            </a:extLst>
          </p:cNvPr>
          <p:cNvSpPr>
            <a:spLocks noGrp="1"/>
          </p:cNvSpPr>
          <p:nvPr>
            <p:ph type="body" sz="quarter" idx="35"/>
          </p:nvPr>
        </p:nvSpPr>
        <p:spPr>
          <a:xfrm>
            <a:off x="654408"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37" name="Rectangle 36">
            <a:extLst>
              <a:ext uri="{FF2B5EF4-FFF2-40B4-BE49-F238E27FC236}">
                <a16:creationId xmlns:a16="http://schemas.microsoft.com/office/drawing/2014/main" id="{60F8F6B4-6036-C249-B4BA-C168CF827E1E}"/>
              </a:ext>
            </a:extLst>
          </p:cNvPr>
          <p:cNvSpPr/>
          <p:nvPr userDrawn="1"/>
        </p:nvSpPr>
        <p:spPr>
          <a:xfrm>
            <a:off x="9704437"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8" name="Text Placeholder 35">
            <a:extLst>
              <a:ext uri="{FF2B5EF4-FFF2-40B4-BE49-F238E27FC236}">
                <a16:creationId xmlns:a16="http://schemas.microsoft.com/office/drawing/2014/main" id="{8C57C1B8-9938-3E47-97E3-B2D59ED6E069}"/>
              </a:ext>
            </a:extLst>
          </p:cNvPr>
          <p:cNvSpPr>
            <a:spLocks noGrp="1"/>
          </p:cNvSpPr>
          <p:nvPr>
            <p:ph type="body" sz="quarter" idx="36" hasCustomPrompt="1"/>
          </p:nvPr>
        </p:nvSpPr>
        <p:spPr>
          <a:xfrm>
            <a:off x="9704213"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39" name="Text Placeholder 40">
            <a:extLst>
              <a:ext uri="{FF2B5EF4-FFF2-40B4-BE49-F238E27FC236}">
                <a16:creationId xmlns:a16="http://schemas.microsoft.com/office/drawing/2014/main" id="{FA070F3E-1E3F-5548-A52A-A061CB950F52}"/>
              </a:ext>
            </a:extLst>
          </p:cNvPr>
          <p:cNvSpPr>
            <a:spLocks noGrp="1"/>
          </p:cNvSpPr>
          <p:nvPr>
            <p:ph type="body" sz="quarter" idx="37"/>
          </p:nvPr>
        </p:nvSpPr>
        <p:spPr>
          <a:xfrm>
            <a:off x="9879585"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45" name="Rectangle 44">
            <a:extLst>
              <a:ext uri="{FF2B5EF4-FFF2-40B4-BE49-F238E27FC236}">
                <a16:creationId xmlns:a16="http://schemas.microsoft.com/office/drawing/2014/main" id="{261DC7A1-4BB9-5B40-AFAF-71BDEE28335E}"/>
              </a:ext>
            </a:extLst>
          </p:cNvPr>
          <p:cNvSpPr/>
          <p:nvPr userDrawn="1"/>
        </p:nvSpPr>
        <p:spPr>
          <a:xfrm>
            <a:off x="2790498"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48" name="Text Placeholder 35">
            <a:extLst>
              <a:ext uri="{FF2B5EF4-FFF2-40B4-BE49-F238E27FC236}">
                <a16:creationId xmlns:a16="http://schemas.microsoft.com/office/drawing/2014/main" id="{96A46CA0-C97B-8C42-9EB8-D546DC353576}"/>
              </a:ext>
            </a:extLst>
          </p:cNvPr>
          <p:cNvSpPr>
            <a:spLocks noGrp="1"/>
          </p:cNvSpPr>
          <p:nvPr>
            <p:ph type="body" sz="quarter" idx="38" hasCustomPrompt="1"/>
          </p:nvPr>
        </p:nvSpPr>
        <p:spPr>
          <a:xfrm>
            <a:off x="2790274"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49" name="Text Placeholder 40">
            <a:extLst>
              <a:ext uri="{FF2B5EF4-FFF2-40B4-BE49-F238E27FC236}">
                <a16:creationId xmlns:a16="http://schemas.microsoft.com/office/drawing/2014/main" id="{F6925924-8438-2446-A508-AE1269688610}"/>
              </a:ext>
            </a:extLst>
          </p:cNvPr>
          <p:cNvSpPr>
            <a:spLocks noGrp="1"/>
          </p:cNvSpPr>
          <p:nvPr>
            <p:ph type="body" sz="quarter" idx="39"/>
          </p:nvPr>
        </p:nvSpPr>
        <p:spPr>
          <a:xfrm>
            <a:off x="2965646"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50" name="Rectangle 49">
            <a:extLst>
              <a:ext uri="{FF2B5EF4-FFF2-40B4-BE49-F238E27FC236}">
                <a16:creationId xmlns:a16="http://schemas.microsoft.com/office/drawing/2014/main" id="{6C128985-4F07-4340-B117-75623A4798A1}"/>
              </a:ext>
            </a:extLst>
          </p:cNvPr>
          <p:cNvSpPr/>
          <p:nvPr userDrawn="1"/>
        </p:nvSpPr>
        <p:spPr>
          <a:xfrm>
            <a:off x="5095449"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1" name="Text Placeholder 35">
            <a:extLst>
              <a:ext uri="{FF2B5EF4-FFF2-40B4-BE49-F238E27FC236}">
                <a16:creationId xmlns:a16="http://schemas.microsoft.com/office/drawing/2014/main" id="{EB203576-247F-594B-AA0C-9AC9BFBC6179}"/>
              </a:ext>
            </a:extLst>
          </p:cNvPr>
          <p:cNvSpPr>
            <a:spLocks noGrp="1"/>
          </p:cNvSpPr>
          <p:nvPr>
            <p:ph type="body" sz="quarter" idx="40" hasCustomPrompt="1"/>
          </p:nvPr>
        </p:nvSpPr>
        <p:spPr>
          <a:xfrm>
            <a:off x="5095225"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2" name="Text Placeholder 40">
            <a:extLst>
              <a:ext uri="{FF2B5EF4-FFF2-40B4-BE49-F238E27FC236}">
                <a16:creationId xmlns:a16="http://schemas.microsoft.com/office/drawing/2014/main" id="{8E39356C-DCED-4B4E-8FD2-8A44E096E63D}"/>
              </a:ext>
            </a:extLst>
          </p:cNvPr>
          <p:cNvSpPr>
            <a:spLocks noGrp="1"/>
          </p:cNvSpPr>
          <p:nvPr>
            <p:ph type="body" sz="quarter" idx="41"/>
          </p:nvPr>
        </p:nvSpPr>
        <p:spPr>
          <a:xfrm>
            <a:off x="5270597"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53" name="Rectangle 52">
            <a:extLst>
              <a:ext uri="{FF2B5EF4-FFF2-40B4-BE49-F238E27FC236}">
                <a16:creationId xmlns:a16="http://schemas.microsoft.com/office/drawing/2014/main" id="{F8CE159F-99AC-9C44-9745-594FE14FF5A8}"/>
              </a:ext>
            </a:extLst>
          </p:cNvPr>
          <p:cNvSpPr/>
          <p:nvPr userDrawn="1"/>
        </p:nvSpPr>
        <p:spPr>
          <a:xfrm>
            <a:off x="7400053"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4" name="Text Placeholder 35">
            <a:extLst>
              <a:ext uri="{FF2B5EF4-FFF2-40B4-BE49-F238E27FC236}">
                <a16:creationId xmlns:a16="http://schemas.microsoft.com/office/drawing/2014/main" id="{D5458CC4-909A-7E47-A02A-3B88B26C134B}"/>
              </a:ext>
            </a:extLst>
          </p:cNvPr>
          <p:cNvSpPr>
            <a:spLocks noGrp="1"/>
          </p:cNvSpPr>
          <p:nvPr>
            <p:ph type="body" sz="quarter" idx="42" hasCustomPrompt="1"/>
          </p:nvPr>
        </p:nvSpPr>
        <p:spPr>
          <a:xfrm>
            <a:off x="7399829"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5" name="Text Placeholder 40">
            <a:extLst>
              <a:ext uri="{FF2B5EF4-FFF2-40B4-BE49-F238E27FC236}">
                <a16:creationId xmlns:a16="http://schemas.microsoft.com/office/drawing/2014/main" id="{FB9277D2-3FED-8644-89D6-89DB3FDD59FF}"/>
              </a:ext>
            </a:extLst>
          </p:cNvPr>
          <p:cNvSpPr>
            <a:spLocks noGrp="1"/>
          </p:cNvSpPr>
          <p:nvPr>
            <p:ph type="body" sz="quarter" idx="43"/>
          </p:nvPr>
        </p:nvSpPr>
        <p:spPr>
          <a:xfrm>
            <a:off x="7575201"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pic>
        <p:nvPicPr>
          <p:cNvPr id="22" name="Picture 21">
            <a:extLst>
              <a:ext uri="{FF2B5EF4-FFF2-40B4-BE49-F238E27FC236}">
                <a16:creationId xmlns:a16="http://schemas.microsoft.com/office/drawing/2014/main" id="{ECBB76C2-AAB2-4D1E-869D-46076497BC3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23" name="Rectangle 22">
            <a:extLst>
              <a:ext uri="{FF2B5EF4-FFF2-40B4-BE49-F238E27FC236}">
                <a16:creationId xmlns:a16="http://schemas.microsoft.com/office/drawing/2014/main" id="{3A1062A9-12EF-40B8-8136-D997D0DBC355}"/>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Title 1">
            <a:extLst>
              <a:ext uri="{FF2B5EF4-FFF2-40B4-BE49-F238E27FC236}">
                <a16:creationId xmlns:a16="http://schemas.microsoft.com/office/drawing/2014/main" id="{E10AA6B4-06A0-4B7D-BECB-BEC3276631D5}"/>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5 stages</a:t>
            </a:r>
            <a:endParaRPr lang="en-GB" dirty="0"/>
          </a:p>
        </p:txBody>
      </p:sp>
      <p:sp>
        <p:nvSpPr>
          <p:cNvPr id="25" name="Text Placeholder 6">
            <a:extLst>
              <a:ext uri="{FF2B5EF4-FFF2-40B4-BE49-F238E27FC236}">
                <a16:creationId xmlns:a16="http://schemas.microsoft.com/office/drawing/2014/main" id="{04FBFF46-BB30-4D8F-A4C2-0956EF529F53}"/>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24421300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Happy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descr="A picture containing person&#10;&#10;Description automatically generated">
            <a:extLst>
              <a:ext uri="{FF2B5EF4-FFF2-40B4-BE49-F238E27FC236}">
                <a16:creationId xmlns:a16="http://schemas.microsoft.com/office/drawing/2014/main" id="{DF4CF2F5-CBC9-4B30-8A19-72977C6D899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4253"/>
          <a:stretch/>
        </p:blipFill>
        <p:spPr>
          <a:xfrm>
            <a:off x="0" y="0"/>
            <a:ext cx="12192000" cy="6858000"/>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a:blip r:embed="rId3"/>
          <a:stretch>
            <a:fillRect/>
          </a:stretch>
        </p:blipFill>
        <p:spPr>
          <a:xfrm>
            <a:off x="1" y="1"/>
            <a:ext cx="12192000" cy="6857999"/>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5" name="Title 3">
            <a:extLst>
              <a:ext uri="{FF2B5EF4-FFF2-40B4-BE49-F238E27FC236}">
                <a16:creationId xmlns:a16="http://schemas.microsoft.com/office/drawing/2014/main" id="{91B41E1B-424C-48BE-8B6B-A734316ADF7D}"/>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6" name="Subtitle 2">
            <a:extLst>
              <a:ext uri="{FF2B5EF4-FFF2-40B4-BE49-F238E27FC236}">
                <a16:creationId xmlns:a16="http://schemas.microsoft.com/office/drawing/2014/main" id="{6DD40145-7FA8-4783-B18F-01F8E09701E8}"/>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7" name="Text Placeholder 37">
            <a:extLst>
              <a:ext uri="{FF2B5EF4-FFF2-40B4-BE49-F238E27FC236}">
                <a16:creationId xmlns:a16="http://schemas.microsoft.com/office/drawing/2014/main" id="{21EA6D3B-0498-4650-84DF-93F210D39C0A}"/>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152182468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 Stage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AF0EC8B-6944-7A47-9A1B-7C92B922EC63}"/>
              </a:ext>
            </a:extLst>
          </p:cNvPr>
          <p:cNvPicPr>
            <a:picLocks noChangeAspect="1"/>
          </p:cNvPicPr>
          <p:nvPr userDrawn="1"/>
        </p:nvPicPr>
        <p:blipFill rotWithShape="1">
          <a:blip r:embed="rId2"/>
          <a:srcRect r="42095" b="14017"/>
          <a:stretch/>
        </p:blipFill>
        <p:spPr>
          <a:xfrm>
            <a:off x="9265131" y="2511926"/>
            <a:ext cx="2926869" cy="4346074"/>
          </a:xfrm>
          <a:prstGeom prst="rect">
            <a:avLst/>
          </a:prstGeom>
        </p:spPr>
      </p:pic>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pic>
        <p:nvPicPr>
          <p:cNvPr id="22" name="Picture 21">
            <a:extLst>
              <a:ext uri="{FF2B5EF4-FFF2-40B4-BE49-F238E27FC236}">
                <a16:creationId xmlns:a16="http://schemas.microsoft.com/office/drawing/2014/main" id="{ECBB76C2-AAB2-4D1E-869D-46076497BC3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23" name="Rectangle 22">
            <a:extLst>
              <a:ext uri="{FF2B5EF4-FFF2-40B4-BE49-F238E27FC236}">
                <a16:creationId xmlns:a16="http://schemas.microsoft.com/office/drawing/2014/main" id="{3A1062A9-12EF-40B8-8136-D997D0DBC355}"/>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Title 1">
            <a:extLst>
              <a:ext uri="{FF2B5EF4-FFF2-40B4-BE49-F238E27FC236}">
                <a16:creationId xmlns:a16="http://schemas.microsoft.com/office/drawing/2014/main" id="{E10AA6B4-06A0-4B7D-BECB-BEC3276631D5}"/>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6 stages</a:t>
            </a:r>
            <a:endParaRPr lang="en-GB" dirty="0"/>
          </a:p>
        </p:txBody>
      </p:sp>
      <p:sp>
        <p:nvSpPr>
          <p:cNvPr id="25" name="Text Placeholder 6">
            <a:extLst>
              <a:ext uri="{FF2B5EF4-FFF2-40B4-BE49-F238E27FC236}">
                <a16:creationId xmlns:a16="http://schemas.microsoft.com/office/drawing/2014/main" id="{04FBFF46-BB30-4D8F-A4C2-0956EF529F53}"/>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61" name="Rectangle 60">
            <a:extLst>
              <a:ext uri="{FF2B5EF4-FFF2-40B4-BE49-F238E27FC236}">
                <a16:creationId xmlns:a16="http://schemas.microsoft.com/office/drawing/2014/main" id="{47A33D06-1EAE-4D42-BD90-9B587543E04E}"/>
              </a:ext>
            </a:extLst>
          </p:cNvPr>
          <p:cNvSpPr/>
          <p:nvPr userDrawn="1"/>
        </p:nvSpPr>
        <p:spPr>
          <a:xfrm>
            <a:off x="251813"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2" name="Text Placeholder 35">
            <a:extLst>
              <a:ext uri="{FF2B5EF4-FFF2-40B4-BE49-F238E27FC236}">
                <a16:creationId xmlns:a16="http://schemas.microsoft.com/office/drawing/2014/main" id="{E969B702-2D90-4A8C-818E-BE349557B45E}"/>
              </a:ext>
            </a:extLst>
          </p:cNvPr>
          <p:cNvSpPr>
            <a:spLocks noGrp="1"/>
          </p:cNvSpPr>
          <p:nvPr>
            <p:ph type="body" sz="quarter" idx="38" hasCustomPrompt="1"/>
          </p:nvPr>
        </p:nvSpPr>
        <p:spPr>
          <a:xfrm>
            <a:off x="258533" y="2028678"/>
            <a:ext cx="148825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4" name="Rectangle 63">
            <a:extLst>
              <a:ext uri="{FF2B5EF4-FFF2-40B4-BE49-F238E27FC236}">
                <a16:creationId xmlns:a16="http://schemas.microsoft.com/office/drawing/2014/main" id="{C443621B-4CB3-4E1A-A2AE-720BADB52B26}"/>
              </a:ext>
            </a:extLst>
          </p:cNvPr>
          <p:cNvSpPr/>
          <p:nvPr userDrawn="1"/>
        </p:nvSpPr>
        <p:spPr>
          <a:xfrm>
            <a:off x="2210079"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5" name="Text Placeholder 35">
            <a:extLst>
              <a:ext uri="{FF2B5EF4-FFF2-40B4-BE49-F238E27FC236}">
                <a16:creationId xmlns:a16="http://schemas.microsoft.com/office/drawing/2014/main" id="{ECECEC0B-3D8D-4F78-B65E-CEEB7F56B6FA}"/>
              </a:ext>
            </a:extLst>
          </p:cNvPr>
          <p:cNvSpPr>
            <a:spLocks noGrp="1"/>
          </p:cNvSpPr>
          <p:nvPr>
            <p:ph type="body" sz="quarter" idx="40" hasCustomPrompt="1"/>
          </p:nvPr>
        </p:nvSpPr>
        <p:spPr>
          <a:xfrm>
            <a:off x="2209149" y="2028678"/>
            <a:ext cx="1513753"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7" name="Rectangle 66">
            <a:extLst>
              <a:ext uri="{FF2B5EF4-FFF2-40B4-BE49-F238E27FC236}">
                <a16:creationId xmlns:a16="http://schemas.microsoft.com/office/drawing/2014/main" id="{AF4F4918-3112-40A9-B65C-A32B1F402BF2}"/>
              </a:ext>
            </a:extLst>
          </p:cNvPr>
          <p:cNvSpPr/>
          <p:nvPr userDrawn="1"/>
        </p:nvSpPr>
        <p:spPr>
          <a:xfrm>
            <a:off x="4178574"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8" name="Text Placeholder 35">
            <a:extLst>
              <a:ext uri="{FF2B5EF4-FFF2-40B4-BE49-F238E27FC236}">
                <a16:creationId xmlns:a16="http://schemas.microsoft.com/office/drawing/2014/main" id="{F28A5266-BA48-484D-9F91-46D04A781338}"/>
              </a:ext>
            </a:extLst>
          </p:cNvPr>
          <p:cNvSpPr>
            <a:spLocks noGrp="1"/>
          </p:cNvSpPr>
          <p:nvPr>
            <p:ph type="body" sz="quarter" idx="42" hasCustomPrompt="1"/>
          </p:nvPr>
        </p:nvSpPr>
        <p:spPr>
          <a:xfrm>
            <a:off x="4189999" y="2028678"/>
            <a:ext cx="1501398"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0" name="Rectangle 69">
            <a:extLst>
              <a:ext uri="{FF2B5EF4-FFF2-40B4-BE49-F238E27FC236}">
                <a16:creationId xmlns:a16="http://schemas.microsoft.com/office/drawing/2014/main" id="{306A64D0-8B54-443B-8C2A-AC90A4B3C517}"/>
              </a:ext>
            </a:extLst>
          </p:cNvPr>
          <p:cNvSpPr/>
          <p:nvPr userDrawn="1"/>
        </p:nvSpPr>
        <p:spPr>
          <a:xfrm>
            <a:off x="6147069"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1" name="Text Placeholder 35">
            <a:extLst>
              <a:ext uri="{FF2B5EF4-FFF2-40B4-BE49-F238E27FC236}">
                <a16:creationId xmlns:a16="http://schemas.microsoft.com/office/drawing/2014/main" id="{A614EA7C-BDC5-4FDE-913B-662DF1E39444}"/>
              </a:ext>
            </a:extLst>
          </p:cNvPr>
          <p:cNvSpPr>
            <a:spLocks noGrp="1"/>
          </p:cNvSpPr>
          <p:nvPr>
            <p:ph type="body" sz="quarter" idx="44" hasCustomPrompt="1"/>
          </p:nvPr>
        </p:nvSpPr>
        <p:spPr>
          <a:xfrm>
            <a:off x="6159578" y="2028678"/>
            <a:ext cx="150031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3" name="Rectangle 72">
            <a:extLst>
              <a:ext uri="{FF2B5EF4-FFF2-40B4-BE49-F238E27FC236}">
                <a16:creationId xmlns:a16="http://schemas.microsoft.com/office/drawing/2014/main" id="{318F6E51-B6BE-439C-8449-84F6671EE3E7}"/>
              </a:ext>
            </a:extLst>
          </p:cNvPr>
          <p:cNvSpPr/>
          <p:nvPr userDrawn="1"/>
        </p:nvSpPr>
        <p:spPr>
          <a:xfrm>
            <a:off x="8115564"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4" name="Text Placeholder 35">
            <a:extLst>
              <a:ext uri="{FF2B5EF4-FFF2-40B4-BE49-F238E27FC236}">
                <a16:creationId xmlns:a16="http://schemas.microsoft.com/office/drawing/2014/main" id="{C5104A83-B738-4265-8E9E-8E27AE76B037}"/>
              </a:ext>
            </a:extLst>
          </p:cNvPr>
          <p:cNvSpPr>
            <a:spLocks noGrp="1"/>
          </p:cNvSpPr>
          <p:nvPr>
            <p:ph type="body" sz="quarter" idx="46" hasCustomPrompt="1"/>
          </p:nvPr>
        </p:nvSpPr>
        <p:spPr>
          <a:xfrm>
            <a:off x="8124399" y="2028678"/>
            <a:ext cx="149585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6" name="Rectangle 75">
            <a:extLst>
              <a:ext uri="{FF2B5EF4-FFF2-40B4-BE49-F238E27FC236}">
                <a16:creationId xmlns:a16="http://schemas.microsoft.com/office/drawing/2014/main" id="{A8B57032-18CE-4064-AFE1-6A0302A02800}"/>
              </a:ext>
            </a:extLst>
          </p:cNvPr>
          <p:cNvSpPr/>
          <p:nvPr userDrawn="1"/>
        </p:nvSpPr>
        <p:spPr>
          <a:xfrm>
            <a:off x="10084057"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7" name="Text Placeholder 35">
            <a:extLst>
              <a:ext uri="{FF2B5EF4-FFF2-40B4-BE49-F238E27FC236}">
                <a16:creationId xmlns:a16="http://schemas.microsoft.com/office/drawing/2014/main" id="{2B345BC8-8D63-4AC6-9DFD-98B6CD13FE6C}"/>
              </a:ext>
            </a:extLst>
          </p:cNvPr>
          <p:cNvSpPr>
            <a:spLocks noGrp="1"/>
          </p:cNvSpPr>
          <p:nvPr>
            <p:ph type="body" sz="quarter" idx="48" hasCustomPrompt="1"/>
          </p:nvPr>
        </p:nvSpPr>
        <p:spPr>
          <a:xfrm>
            <a:off x="10093262" y="2028678"/>
            <a:ext cx="1479613"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8" name="Text Placeholder 40">
            <a:extLst>
              <a:ext uri="{FF2B5EF4-FFF2-40B4-BE49-F238E27FC236}">
                <a16:creationId xmlns:a16="http://schemas.microsoft.com/office/drawing/2014/main" id="{EB389AB7-4135-4E98-B896-F8A9D66152FE}"/>
              </a:ext>
            </a:extLst>
          </p:cNvPr>
          <p:cNvSpPr>
            <a:spLocks noGrp="1"/>
          </p:cNvSpPr>
          <p:nvPr>
            <p:ph type="body" sz="quarter" idx="49"/>
          </p:nvPr>
        </p:nvSpPr>
        <p:spPr>
          <a:xfrm>
            <a:off x="10177918" y="3239605"/>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3" name="Text Placeholder 40">
            <a:extLst>
              <a:ext uri="{FF2B5EF4-FFF2-40B4-BE49-F238E27FC236}">
                <a16:creationId xmlns:a16="http://schemas.microsoft.com/office/drawing/2014/main" id="{22C1654A-4A50-4D5A-BCC6-E1989853E81C}"/>
              </a:ext>
            </a:extLst>
          </p:cNvPr>
          <p:cNvSpPr>
            <a:spLocks noGrp="1"/>
          </p:cNvSpPr>
          <p:nvPr>
            <p:ph type="body" sz="quarter" idx="50"/>
          </p:nvPr>
        </p:nvSpPr>
        <p:spPr>
          <a:xfrm>
            <a:off x="317329" y="3237961"/>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4" name="Text Placeholder 40">
            <a:extLst>
              <a:ext uri="{FF2B5EF4-FFF2-40B4-BE49-F238E27FC236}">
                <a16:creationId xmlns:a16="http://schemas.microsoft.com/office/drawing/2014/main" id="{7590D40B-0A1D-4BEB-AA50-F47F1C789B23}"/>
              </a:ext>
            </a:extLst>
          </p:cNvPr>
          <p:cNvSpPr>
            <a:spLocks noGrp="1"/>
          </p:cNvSpPr>
          <p:nvPr>
            <p:ph type="body" sz="quarter" idx="51"/>
          </p:nvPr>
        </p:nvSpPr>
        <p:spPr>
          <a:xfrm>
            <a:off x="2313700" y="3246290"/>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5" name="Text Placeholder 40">
            <a:extLst>
              <a:ext uri="{FF2B5EF4-FFF2-40B4-BE49-F238E27FC236}">
                <a16:creationId xmlns:a16="http://schemas.microsoft.com/office/drawing/2014/main" id="{F1F8639E-9955-4B00-B3C5-85E416B54513}"/>
              </a:ext>
            </a:extLst>
          </p:cNvPr>
          <p:cNvSpPr>
            <a:spLocks noGrp="1"/>
          </p:cNvSpPr>
          <p:nvPr>
            <p:ph type="body" sz="quarter" idx="52"/>
          </p:nvPr>
        </p:nvSpPr>
        <p:spPr>
          <a:xfrm>
            <a:off x="4265400" y="3246290"/>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6" name="Text Placeholder 40">
            <a:extLst>
              <a:ext uri="{FF2B5EF4-FFF2-40B4-BE49-F238E27FC236}">
                <a16:creationId xmlns:a16="http://schemas.microsoft.com/office/drawing/2014/main" id="{CEC1CD5F-6F51-46AC-85FD-6359167DDC7A}"/>
              </a:ext>
            </a:extLst>
          </p:cNvPr>
          <p:cNvSpPr>
            <a:spLocks noGrp="1"/>
          </p:cNvSpPr>
          <p:nvPr>
            <p:ph type="body" sz="quarter" idx="53"/>
          </p:nvPr>
        </p:nvSpPr>
        <p:spPr>
          <a:xfrm>
            <a:off x="6245575" y="3246290"/>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7" name="Text Placeholder 40">
            <a:extLst>
              <a:ext uri="{FF2B5EF4-FFF2-40B4-BE49-F238E27FC236}">
                <a16:creationId xmlns:a16="http://schemas.microsoft.com/office/drawing/2014/main" id="{E901A7F8-4FB7-4FB9-A98C-AA7612964DA7}"/>
              </a:ext>
            </a:extLst>
          </p:cNvPr>
          <p:cNvSpPr>
            <a:spLocks noGrp="1"/>
          </p:cNvSpPr>
          <p:nvPr>
            <p:ph type="body" sz="quarter" idx="54"/>
          </p:nvPr>
        </p:nvSpPr>
        <p:spPr>
          <a:xfrm>
            <a:off x="8214070" y="3235303"/>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Tree>
    <p:extLst>
      <p:ext uri="{BB962C8B-B14F-4D97-AF65-F5344CB8AC3E}">
        <p14:creationId xmlns:p14="http://schemas.microsoft.com/office/powerpoint/2010/main" val="2073285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able 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A68C3CF0-EDE0-41E7-90BE-6658867FA7F3}"/>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able Placeholder 4">
            <a:extLst>
              <a:ext uri="{FF2B5EF4-FFF2-40B4-BE49-F238E27FC236}">
                <a16:creationId xmlns:a16="http://schemas.microsoft.com/office/drawing/2014/main" id="{2E94993B-2CBF-4D63-9C0B-3DEB90439715}"/>
              </a:ext>
            </a:extLst>
          </p:cNvPr>
          <p:cNvSpPr>
            <a:spLocks noGrp="1"/>
          </p:cNvSpPr>
          <p:nvPr>
            <p:ph type="tbl" sz="quarter" idx="13" hasCustomPrompt="1"/>
          </p:nvPr>
        </p:nvSpPr>
        <p:spPr>
          <a:xfrm>
            <a:off x="4738254" y="1800000"/>
            <a:ext cx="7028953" cy="4418051"/>
          </a:xfrm>
          <a:prstGeom prst="rect">
            <a:avLst/>
          </a:prstGeom>
          <a:solidFill>
            <a:schemeClr val="bg1">
              <a:lumMod val="65000"/>
            </a:schemeClr>
          </a:solidFill>
        </p:spPr>
        <p:txBody>
          <a:bodyPr lIns="360000" tIns="360000" rIns="360000" bIns="360000"/>
          <a:lstStyle>
            <a:lvl1pPr marL="0" indent="0" algn="ctr">
              <a:buNone/>
              <a:defRPr lang="en-GB" sz="2400" b="0" kern="1200">
                <a:solidFill>
                  <a:schemeClr val="tx1"/>
                </a:solidFill>
                <a:latin typeface="Arial" panose="020B0604020202020204" pitchFamily="34" charset="0"/>
                <a:ea typeface="+mn-ea"/>
                <a:cs typeface="Arial" panose="020B0604020202020204" pitchFamily="34" charset="0"/>
              </a:defRPr>
            </a:lvl1pPr>
          </a:lstStyle>
          <a:p>
            <a:r>
              <a:rPr lang="en-GB" dirty="0"/>
              <a:t>Click icon to create table</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8" name="Picture 7">
            <a:extLst>
              <a:ext uri="{FF2B5EF4-FFF2-40B4-BE49-F238E27FC236}">
                <a16:creationId xmlns:a16="http://schemas.microsoft.com/office/drawing/2014/main" id="{5464D7F2-2738-4DD6-9804-14CE0144090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0" name="Rectangle 9">
            <a:extLst>
              <a:ext uri="{FF2B5EF4-FFF2-40B4-BE49-F238E27FC236}">
                <a16:creationId xmlns:a16="http://schemas.microsoft.com/office/drawing/2014/main" id="{75F6F180-AB11-4527-B626-D97C6BF4248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itle 1">
            <a:extLst>
              <a:ext uri="{FF2B5EF4-FFF2-40B4-BE49-F238E27FC236}">
                <a16:creationId xmlns:a16="http://schemas.microsoft.com/office/drawing/2014/main" id="{14C29F6F-C163-420D-97CC-76412D34F292}"/>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table slide</a:t>
            </a:r>
            <a:endParaRPr lang="en-GB" dirty="0"/>
          </a:p>
        </p:txBody>
      </p:sp>
      <p:sp>
        <p:nvSpPr>
          <p:cNvPr id="13" name="Text Placeholder 6">
            <a:extLst>
              <a:ext uri="{FF2B5EF4-FFF2-40B4-BE49-F238E27FC236}">
                <a16:creationId xmlns:a16="http://schemas.microsoft.com/office/drawing/2014/main" id="{F6ACB914-7340-43FB-913A-9487D1B68E61}"/>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643960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able Only">
    <p:spTree>
      <p:nvGrpSpPr>
        <p:cNvPr id="1" name=""/>
        <p:cNvGrpSpPr/>
        <p:nvPr/>
      </p:nvGrpSpPr>
      <p:grpSpPr>
        <a:xfrm>
          <a:off x="0" y="0"/>
          <a:ext cx="0" cy="0"/>
          <a:chOff x="0" y="0"/>
          <a:chExt cx="0" cy="0"/>
        </a:xfrm>
      </p:grpSpPr>
      <p:sp>
        <p:nvSpPr>
          <p:cNvPr id="5" name="Table Placeholder 4">
            <a:extLst>
              <a:ext uri="{FF2B5EF4-FFF2-40B4-BE49-F238E27FC236}">
                <a16:creationId xmlns:a16="http://schemas.microsoft.com/office/drawing/2014/main" id="{2E94993B-2CBF-4D63-9C0B-3DEB90439715}"/>
              </a:ext>
            </a:extLst>
          </p:cNvPr>
          <p:cNvSpPr>
            <a:spLocks noGrp="1"/>
          </p:cNvSpPr>
          <p:nvPr>
            <p:ph type="tbl" sz="quarter" idx="13" hasCustomPrompt="1"/>
          </p:nvPr>
        </p:nvSpPr>
        <p:spPr>
          <a:xfrm>
            <a:off x="424544" y="1800000"/>
            <a:ext cx="11332027" cy="4408526"/>
          </a:xfrm>
          <a:prstGeom prst="rect">
            <a:avLst/>
          </a:prstGeom>
          <a:solidFill>
            <a:schemeClr val="bg1">
              <a:lumMod val="65000"/>
            </a:schemeClr>
          </a:solidFill>
        </p:spPr>
        <p:txBody>
          <a:bodyPr lIns="360000" tIns="360000" rIns="360000" bIns="360000"/>
          <a:lstStyle>
            <a:lvl1pPr marL="0" indent="0" algn="ctr">
              <a:buNone/>
              <a:defRPr lang="en-GB" sz="2400" b="0" kern="1200">
                <a:solidFill>
                  <a:schemeClr val="tx1"/>
                </a:solidFill>
                <a:latin typeface="Arial" panose="020B0604020202020204" pitchFamily="34" charset="0"/>
                <a:ea typeface="+mn-ea"/>
                <a:cs typeface="Arial" panose="020B0604020202020204" pitchFamily="34" charset="0"/>
              </a:defRPr>
            </a:lvl1pPr>
          </a:lstStyle>
          <a:p>
            <a:r>
              <a:rPr lang="en-GB" dirty="0"/>
              <a:t>Click icon to create table</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7" name="Picture 6">
            <a:extLst>
              <a:ext uri="{FF2B5EF4-FFF2-40B4-BE49-F238E27FC236}">
                <a16:creationId xmlns:a16="http://schemas.microsoft.com/office/drawing/2014/main" id="{F66F6E25-8280-4690-947C-D0F36D66376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9" name="Rectangle 8">
            <a:extLst>
              <a:ext uri="{FF2B5EF4-FFF2-40B4-BE49-F238E27FC236}">
                <a16:creationId xmlns:a16="http://schemas.microsoft.com/office/drawing/2014/main" id="{994A7B83-05EC-4DDD-B5D8-A0AC5450300C}"/>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1">
            <a:extLst>
              <a:ext uri="{FF2B5EF4-FFF2-40B4-BE49-F238E27FC236}">
                <a16:creationId xmlns:a16="http://schemas.microsoft.com/office/drawing/2014/main" id="{20CB62F3-143F-445A-BBC5-D8A464DEECD3}"/>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able only slide</a:t>
            </a:r>
            <a:endParaRPr lang="en-GB" dirty="0"/>
          </a:p>
        </p:txBody>
      </p:sp>
      <p:sp>
        <p:nvSpPr>
          <p:cNvPr id="12" name="Text Placeholder 6">
            <a:extLst>
              <a:ext uri="{FF2B5EF4-FFF2-40B4-BE49-F238E27FC236}">
                <a16:creationId xmlns:a16="http://schemas.microsoft.com/office/drawing/2014/main" id="{FCA82E2A-12E8-4BEA-8484-E8142C99FC70}"/>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5522924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Righ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4738254" y="1800001"/>
            <a:ext cx="7028953" cy="4418051"/>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12" name="Picture 11">
            <a:extLst>
              <a:ext uri="{FF2B5EF4-FFF2-40B4-BE49-F238E27FC236}">
                <a16:creationId xmlns:a16="http://schemas.microsoft.com/office/drawing/2014/main" id="{2AE9E8AA-41E9-4B2E-A604-FACD5A5DB1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8" name="Rectangle 7">
            <a:extLst>
              <a:ext uri="{FF2B5EF4-FFF2-40B4-BE49-F238E27FC236}">
                <a16:creationId xmlns:a16="http://schemas.microsoft.com/office/drawing/2014/main" id="{5342EA0E-BFF4-499A-9126-032D30FD013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itle 1">
            <a:extLst>
              <a:ext uri="{FF2B5EF4-FFF2-40B4-BE49-F238E27FC236}">
                <a16:creationId xmlns:a16="http://schemas.microsoft.com/office/drawing/2014/main" id="{49BF0055-222A-4114-952B-55BC38543673}"/>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chart slide</a:t>
            </a:r>
            <a:endParaRPr lang="en-GB" dirty="0"/>
          </a:p>
        </p:txBody>
      </p:sp>
      <p:sp>
        <p:nvSpPr>
          <p:cNvPr id="14" name="Text Placeholder 6">
            <a:extLst>
              <a:ext uri="{FF2B5EF4-FFF2-40B4-BE49-F238E27FC236}">
                <a16:creationId xmlns:a16="http://schemas.microsoft.com/office/drawing/2014/main" id="{C5F444F1-59D8-45DB-B52F-F7457A8D24BC}"/>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5" name="Content Placeholder 2">
            <a:extLst>
              <a:ext uri="{FF2B5EF4-FFF2-40B4-BE49-F238E27FC236}">
                <a16:creationId xmlns:a16="http://schemas.microsoft.com/office/drawing/2014/main" id="{7CF7DD14-DF26-4216-8376-F84F3656B57F}"/>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6497781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Only">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424544" y="1790476"/>
            <a:ext cx="11332027" cy="4457924"/>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7" name="Picture 6">
            <a:extLst>
              <a:ext uri="{FF2B5EF4-FFF2-40B4-BE49-F238E27FC236}">
                <a16:creationId xmlns:a16="http://schemas.microsoft.com/office/drawing/2014/main" id="{3CCC0DAB-C431-46DC-AD96-7D3FACCA7B6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8" name="Rectangle 7">
            <a:extLst>
              <a:ext uri="{FF2B5EF4-FFF2-40B4-BE49-F238E27FC236}">
                <a16:creationId xmlns:a16="http://schemas.microsoft.com/office/drawing/2014/main" id="{63A7FF20-1F5C-4182-891F-E10BC4628A9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itle 1">
            <a:extLst>
              <a:ext uri="{FF2B5EF4-FFF2-40B4-BE49-F238E27FC236}">
                <a16:creationId xmlns:a16="http://schemas.microsoft.com/office/drawing/2014/main" id="{BB338666-5A7B-4746-ADDB-6279C03CD169}"/>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Chart only slide</a:t>
            </a:r>
            <a:endParaRPr lang="en-GB" dirty="0"/>
          </a:p>
        </p:txBody>
      </p:sp>
      <p:sp>
        <p:nvSpPr>
          <p:cNvPr id="12" name="Text Placeholder 6">
            <a:extLst>
              <a:ext uri="{FF2B5EF4-FFF2-40B4-BE49-F238E27FC236}">
                <a16:creationId xmlns:a16="http://schemas.microsoft.com/office/drawing/2014/main" id="{3372864B-BF9F-4A32-ADAB-9887FF6FA2ED}"/>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42085163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2 Charts">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8399832" y="1780950"/>
            <a:ext cx="3334502" cy="4427577"/>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11" name="Chart Placeholder 5">
            <a:extLst>
              <a:ext uri="{FF2B5EF4-FFF2-40B4-BE49-F238E27FC236}">
                <a16:creationId xmlns:a16="http://schemas.microsoft.com/office/drawing/2014/main" id="{BB7FD05B-D3A2-4351-B9E8-26178B6D6919}"/>
              </a:ext>
            </a:extLst>
          </p:cNvPr>
          <p:cNvSpPr>
            <a:spLocks noGrp="1"/>
          </p:cNvSpPr>
          <p:nvPr>
            <p:ph type="chart" sz="quarter" idx="15" hasCustomPrompt="1"/>
          </p:nvPr>
        </p:nvSpPr>
        <p:spPr>
          <a:xfrm>
            <a:off x="4737600" y="1780950"/>
            <a:ext cx="3334502" cy="4427576"/>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pic>
        <p:nvPicPr>
          <p:cNvPr id="9" name="Picture 8">
            <a:extLst>
              <a:ext uri="{FF2B5EF4-FFF2-40B4-BE49-F238E27FC236}">
                <a16:creationId xmlns:a16="http://schemas.microsoft.com/office/drawing/2014/main" id="{1A2D1E8A-8B08-4E7E-BEAB-D0300F0282C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3" name="Rectangle 12">
            <a:extLst>
              <a:ext uri="{FF2B5EF4-FFF2-40B4-BE49-F238E27FC236}">
                <a16:creationId xmlns:a16="http://schemas.microsoft.com/office/drawing/2014/main" id="{1E1BA03E-9E28-433B-915E-D397B6A30027}"/>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Title 1">
            <a:extLst>
              <a:ext uri="{FF2B5EF4-FFF2-40B4-BE49-F238E27FC236}">
                <a16:creationId xmlns:a16="http://schemas.microsoft.com/office/drawing/2014/main" id="{06A3C8E2-E62F-4079-B4A4-A38F13C67D1B}"/>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2 charts</a:t>
            </a:r>
            <a:endParaRPr lang="en-GB" dirty="0"/>
          </a:p>
        </p:txBody>
      </p:sp>
      <p:sp>
        <p:nvSpPr>
          <p:cNvPr id="16" name="Text Placeholder 6">
            <a:extLst>
              <a:ext uri="{FF2B5EF4-FFF2-40B4-BE49-F238E27FC236}">
                <a16:creationId xmlns:a16="http://schemas.microsoft.com/office/drawing/2014/main" id="{FCC7F9D7-D427-45C7-B41A-2B63EE6282F9}"/>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7" name="Content Placeholder 2">
            <a:extLst>
              <a:ext uri="{FF2B5EF4-FFF2-40B4-BE49-F238E27FC236}">
                <a16:creationId xmlns:a16="http://schemas.microsoft.com/office/drawing/2014/main" id="{DCD083F3-995F-41F2-82B2-B0F9BCCEC4AA}"/>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875967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ank You, Confetti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Picture 11">
            <a:extLst>
              <a:ext uri="{FF2B5EF4-FFF2-40B4-BE49-F238E27FC236}">
                <a16:creationId xmlns:a16="http://schemas.microsoft.com/office/drawing/2014/main" id="{A0B4B331-2378-4205-AC4C-587A25FEC30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489"/>
          <a:stretch/>
        </p:blipFill>
        <p:spPr>
          <a:xfrm>
            <a:off x="0" y="0"/>
            <a:ext cx="12192000" cy="6858000"/>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1" y="0"/>
            <a:ext cx="12192000" cy="6858000"/>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8" name="Title 3">
            <a:extLst>
              <a:ext uri="{FF2B5EF4-FFF2-40B4-BE49-F238E27FC236}">
                <a16:creationId xmlns:a16="http://schemas.microsoft.com/office/drawing/2014/main" id="{5DD9B60B-12FD-4580-958C-7044D0BB2C3D}"/>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1" name="Subtitle 2">
            <a:extLst>
              <a:ext uri="{FF2B5EF4-FFF2-40B4-BE49-F238E27FC236}">
                <a16:creationId xmlns:a16="http://schemas.microsoft.com/office/drawing/2014/main" id="{F640EA8B-7106-4310-A125-54F6FBBDE79D}"/>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28363930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ank You, Door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descr="A picture containing tree, outdoor, plant, red&#10;&#10;Description automatically generated">
            <a:extLst>
              <a:ext uri="{FF2B5EF4-FFF2-40B4-BE49-F238E27FC236}">
                <a16:creationId xmlns:a16="http://schemas.microsoft.com/office/drawing/2014/main" id="{C0DE9EAE-E430-469B-B416-9C730AEAFCA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511" b="4785"/>
          <a:stretch/>
        </p:blipFill>
        <p:spPr>
          <a:xfrm>
            <a:off x="1280" y="0"/>
            <a:ext cx="12192000" cy="6858001"/>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1" y="1"/>
            <a:ext cx="12189572" cy="6857999"/>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41" name="Title 3">
            <a:extLst>
              <a:ext uri="{FF2B5EF4-FFF2-40B4-BE49-F238E27FC236}">
                <a16:creationId xmlns:a16="http://schemas.microsoft.com/office/drawing/2014/main" id="{EF0CC505-3F1F-2343-8D30-97964582441F}"/>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40" name="Subtitle 2">
            <a:extLst>
              <a:ext uri="{FF2B5EF4-FFF2-40B4-BE49-F238E27FC236}">
                <a16:creationId xmlns:a16="http://schemas.microsoft.com/office/drawing/2014/main" id="{6A60678E-A454-354A-B4B9-EAB11B969674}"/>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906301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ank You, Happy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 name="Picture 12" descr="A picture containing person&#10;&#10;Description automatically generated">
            <a:extLst>
              <a:ext uri="{FF2B5EF4-FFF2-40B4-BE49-F238E27FC236}">
                <a16:creationId xmlns:a16="http://schemas.microsoft.com/office/drawing/2014/main" id="{18E8CF89-1785-45E0-B5C5-1804C5221C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4253"/>
          <a:stretch/>
        </p:blipFill>
        <p:spPr>
          <a:xfrm>
            <a:off x="0" y="0"/>
            <a:ext cx="12192000" cy="6858000"/>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0" y="1"/>
            <a:ext cx="12192000" cy="6857999"/>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8" name="Title 3">
            <a:extLst>
              <a:ext uri="{FF2B5EF4-FFF2-40B4-BE49-F238E27FC236}">
                <a16:creationId xmlns:a16="http://schemas.microsoft.com/office/drawing/2014/main" id="{4A0BADAC-3F71-465F-990B-DE33520248B8}"/>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1" name="Subtitle 2">
            <a:extLst>
              <a:ext uri="{FF2B5EF4-FFF2-40B4-BE49-F238E27FC236}">
                <a16:creationId xmlns:a16="http://schemas.microsoft.com/office/drawing/2014/main" id="{73A52FE2-3E92-46EC-B4B1-59FB53538935}"/>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289305719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ank You, Mail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 name="Picture 12" descr="A picture containing text&#10;&#10;Description automatically generated">
            <a:extLst>
              <a:ext uri="{FF2B5EF4-FFF2-40B4-BE49-F238E27FC236}">
                <a16:creationId xmlns:a16="http://schemas.microsoft.com/office/drawing/2014/main" id="{27CDC051-DCD2-450D-8722-CB1D5C7EA0F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469" b="12020"/>
          <a:stretch/>
        </p:blipFill>
        <p:spPr>
          <a:xfrm>
            <a:off x="0" y="0"/>
            <a:ext cx="12192000" cy="6857999"/>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0" y="-2"/>
            <a:ext cx="12192000" cy="6858001"/>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8" name="Title 3">
            <a:extLst>
              <a:ext uri="{FF2B5EF4-FFF2-40B4-BE49-F238E27FC236}">
                <a16:creationId xmlns:a16="http://schemas.microsoft.com/office/drawing/2014/main" id="{AF15156B-339F-4057-9635-0293D184B0AA}"/>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1" name="Subtitle 2">
            <a:extLst>
              <a:ext uri="{FF2B5EF4-FFF2-40B4-BE49-F238E27FC236}">
                <a16:creationId xmlns:a16="http://schemas.microsoft.com/office/drawing/2014/main" id="{451288D4-A7CF-43CB-9D80-AC119722816C}"/>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562377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Mail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descr="A picture containing text&#10;&#10;Description automatically generated">
            <a:extLst>
              <a:ext uri="{FF2B5EF4-FFF2-40B4-BE49-F238E27FC236}">
                <a16:creationId xmlns:a16="http://schemas.microsoft.com/office/drawing/2014/main" id="{59C135B9-BBD4-4C1A-B428-07CAA57DE8A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469" b="12020"/>
          <a:stretch/>
        </p:blipFill>
        <p:spPr>
          <a:xfrm>
            <a:off x="0" y="0"/>
            <a:ext cx="12192000" cy="6857999"/>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a:blip r:embed="rId3"/>
          <a:stretch>
            <a:fillRect/>
          </a:stretch>
        </p:blipFill>
        <p:spPr>
          <a:xfrm>
            <a:off x="0" y="-1"/>
            <a:ext cx="12192000" cy="6857999"/>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5" name="Title 3">
            <a:extLst>
              <a:ext uri="{FF2B5EF4-FFF2-40B4-BE49-F238E27FC236}">
                <a16:creationId xmlns:a16="http://schemas.microsoft.com/office/drawing/2014/main" id="{0E514967-D186-4B0B-BC63-DD91D30257A5}"/>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6" name="Subtitle 2">
            <a:extLst>
              <a:ext uri="{FF2B5EF4-FFF2-40B4-BE49-F238E27FC236}">
                <a16:creationId xmlns:a16="http://schemas.microsoft.com/office/drawing/2014/main" id="{793E8C4D-CE7B-4E72-BDA9-39DB23396AB3}"/>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7" name="Text Placeholder 37">
            <a:extLst>
              <a:ext uri="{FF2B5EF4-FFF2-40B4-BE49-F238E27FC236}">
                <a16:creationId xmlns:a16="http://schemas.microsoft.com/office/drawing/2014/main" id="{D24C7D19-BB4F-4EF8-80D9-7BE2514FCCFD}"/>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25197176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ank You, Reading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a:extLst>
              <a:ext uri="{FF2B5EF4-FFF2-40B4-BE49-F238E27FC236}">
                <a16:creationId xmlns:a16="http://schemas.microsoft.com/office/drawing/2014/main" id="{98F557B6-D8AA-4FF7-B215-B664B5217AC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142"/>
          <a:stretch/>
        </p:blipFill>
        <p:spPr>
          <a:xfrm>
            <a:off x="1280" y="-9635"/>
            <a:ext cx="12192000" cy="6877270"/>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1280" y="-9635"/>
            <a:ext cx="12192000" cy="6889406"/>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4" name="Title 3">
            <a:extLst>
              <a:ext uri="{FF2B5EF4-FFF2-40B4-BE49-F238E27FC236}">
                <a16:creationId xmlns:a16="http://schemas.microsoft.com/office/drawing/2014/main" id="{935FA2FF-A04D-4F21-BAE1-B48B5C97595E}"/>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5" name="Subtitle 2">
            <a:extLst>
              <a:ext uri="{FF2B5EF4-FFF2-40B4-BE49-F238E27FC236}">
                <a16:creationId xmlns:a16="http://schemas.microsoft.com/office/drawing/2014/main" id="{C3B047E4-D9EA-470D-8D3E-AAE75A1352BE}"/>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253335749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hank You,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3C0C179-A67C-074B-845F-F92CAD1E9FD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82775" y="507629"/>
            <a:ext cx="4027064" cy="638265"/>
          </a:xfrm>
          <a:prstGeom prst="rect">
            <a:avLst/>
          </a:prstGeom>
        </p:spPr>
      </p:pic>
      <p:sp>
        <p:nvSpPr>
          <p:cNvPr id="6" name="Rectangle 5">
            <a:extLst>
              <a:ext uri="{FF2B5EF4-FFF2-40B4-BE49-F238E27FC236}">
                <a16:creationId xmlns:a16="http://schemas.microsoft.com/office/drawing/2014/main" id="{DA1ADAC1-83FD-4AD7-BAEE-4952FE08A6B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7D1C7821-C59F-44D3-BDBC-CAFB7445C152}"/>
              </a:ext>
            </a:extLst>
          </p:cNvPr>
          <p:cNvPicPr>
            <a:picLocks noChangeAspect="1"/>
          </p:cNvPicPr>
          <p:nvPr userDrawn="1"/>
        </p:nvPicPr>
        <p:blipFill rotWithShape="1">
          <a:blip r:embed="rId4"/>
          <a:srcRect t="9162" r="17975"/>
          <a:stretch/>
        </p:blipFill>
        <p:spPr>
          <a:xfrm>
            <a:off x="9478657" y="0"/>
            <a:ext cx="2713343" cy="3574142"/>
          </a:xfrm>
          <a:prstGeom prst="rect">
            <a:avLst/>
          </a:prstGeom>
        </p:spPr>
      </p:pic>
      <p:sp>
        <p:nvSpPr>
          <p:cNvPr id="13" name="Title 3">
            <a:extLst>
              <a:ext uri="{FF2B5EF4-FFF2-40B4-BE49-F238E27FC236}">
                <a16:creationId xmlns:a16="http://schemas.microsoft.com/office/drawing/2014/main" id="{B3E62B0D-1400-4128-B8D6-288C00B07D0A}"/>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tx1"/>
                </a:solidFill>
              </a:defRPr>
            </a:lvl1pPr>
          </a:lstStyle>
          <a:p>
            <a:r>
              <a:rPr lang="en-GB" dirty="0"/>
              <a:t>CLICK TO EDIT E.G. “THANK YOU”</a:t>
            </a:r>
            <a:endParaRPr lang="en-US" dirty="0"/>
          </a:p>
        </p:txBody>
      </p:sp>
      <p:sp>
        <p:nvSpPr>
          <p:cNvPr id="14" name="Subtitle 2">
            <a:extLst>
              <a:ext uri="{FF2B5EF4-FFF2-40B4-BE49-F238E27FC236}">
                <a16:creationId xmlns:a16="http://schemas.microsoft.com/office/drawing/2014/main" id="{A89F1F6E-78B6-459A-866C-3165223B96A9}"/>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tx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30545946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2 Columns">
    <p:bg>
      <p:bgRef idx="1001">
        <a:schemeClr val="bg1"/>
      </p:bgRef>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545D803-1BF7-40EA-AC91-081933E6A3B1}"/>
              </a:ext>
            </a:extLst>
          </p:cNvPr>
          <p:cNvSpPr>
            <a:spLocks noGrp="1"/>
          </p:cNvSpPr>
          <p:nvPr>
            <p:ph sz="quarter" idx="16" hasCustomPrompt="1"/>
          </p:nvPr>
        </p:nvSpPr>
        <p:spPr>
          <a:xfrm>
            <a:off x="485775" y="1800225"/>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Content Placeholder 2">
            <a:extLst>
              <a:ext uri="{FF2B5EF4-FFF2-40B4-BE49-F238E27FC236}">
                <a16:creationId xmlns:a16="http://schemas.microsoft.com/office/drawing/2014/main" id="{2ACDA32D-4E94-4582-83EA-F079BEC77359}"/>
              </a:ext>
            </a:extLst>
          </p:cNvPr>
          <p:cNvSpPr>
            <a:spLocks noGrp="1"/>
          </p:cNvSpPr>
          <p:nvPr>
            <p:ph sz="quarter" idx="17" hasCustomPrompt="1"/>
          </p:nvPr>
        </p:nvSpPr>
        <p:spPr>
          <a:xfrm>
            <a:off x="6408112" y="1800000"/>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itle 1">
            <a:extLst>
              <a:ext uri="{FF2B5EF4-FFF2-40B4-BE49-F238E27FC236}">
                <a16:creationId xmlns:a16="http://schemas.microsoft.com/office/drawing/2014/main" id="{BCF829B6-8F65-9C49-8B56-C81689650C91}"/>
              </a:ext>
            </a:extLst>
          </p:cNvPr>
          <p:cNvSpPr>
            <a:spLocks noGrp="1"/>
          </p:cNvSpPr>
          <p:nvPr>
            <p:ph type="title" hasCustomPrompt="1"/>
          </p:nvPr>
        </p:nvSpPr>
        <p:spPr>
          <a:xfrm>
            <a:off x="486000" y="414000"/>
            <a:ext cx="7057800" cy="475686"/>
          </a:xfrm>
          <a:prstGeom prst="rect">
            <a:avLst/>
          </a:prstGeom>
        </p:spPr>
        <p:txBody>
          <a:bodyPr lIns="0" tIns="0" rIns="0" bIns="0"/>
          <a:lstStyle>
            <a:lvl1pPr>
              <a:lnSpc>
                <a:spcPts val="4400"/>
              </a:lnSpc>
              <a:defRPr sz="3600" b="1" cap="all" spc="-100" baseline="0">
                <a:latin typeface="+mj-lt"/>
              </a:defRPr>
            </a:lvl1pPr>
          </a:lstStyle>
          <a:p>
            <a:r>
              <a:rPr lang="en-US" dirty="0"/>
              <a:t>TEXT-ONLY SLIDE, 2 columns</a:t>
            </a:r>
            <a:endParaRPr lang="en-GB" dirty="0"/>
          </a:p>
        </p:txBody>
      </p:sp>
      <p:sp>
        <p:nvSpPr>
          <p:cNvPr id="7" name="Text Placeholder 6">
            <a:extLst>
              <a:ext uri="{FF2B5EF4-FFF2-40B4-BE49-F238E27FC236}">
                <a16:creationId xmlns:a16="http://schemas.microsoft.com/office/drawing/2014/main" id="{A6526A71-AA71-0340-ADDE-15A0DA0261A2}"/>
              </a:ext>
            </a:extLst>
          </p:cNvPr>
          <p:cNvSpPr>
            <a:spLocks noGrp="1"/>
          </p:cNvSpPr>
          <p:nvPr>
            <p:ph type="body" sz="quarter" idx="11" hasCustomPrompt="1"/>
          </p:nvPr>
        </p:nvSpPr>
        <p:spPr>
          <a:xfrm>
            <a:off x="486001" y="993160"/>
            <a:ext cx="7057799" cy="267229"/>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4" name="Slide Number Placeholder 3">
            <a:extLst>
              <a:ext uri="{FF2B5EF4-FFF2-40B4-BE49-F238E27FC236}">
                <a16:creationId xmlns:a16="http://schemas.microsoft.com/office/drawing/2014/main" id="{F5F2191B-F9B2-4D52-B126-519167AFCB79}"/>
              </a:ext>
            </a:extLst>
          </p:cNvPr>
          <p:cNvSpPr>
            <a:spLocks noGrp="1"/>
          </p:cNvSpPr>
          <p:nvPr>
            <p:ph type="sldNum" sz="quarter" idx="19"/>
          </p:nvPr>
        </p:nvSpPr>
        <p:spPr/>
        <p:txBody>
          <a:bodyPr/>
          <a:lstStyle/>
          <a:p>
            <a:fld id="{3787542D-5C6B-4EB3-96EB-9B37C3D5D2F8}" type="slidenum">
              <a:rPr lang="en-GB" smtClean="0"/>
              <a:t>‹#›</a:t>
            </a:fld>
            <a:endParaRPr lang="en-GB" dirty="0"/>
          </a:p>
        </p:txBody>
      </p:sp>
      <p:pic>
        <p:nvPicPr>
          <p:cNvPr id="12" name="Picture 11">
            <a:extLst>
              <a:ext uri="{FF2B5EF4-FFF2-40B4-BE49-F238E27FC236}">
                <a16:creationId xmlns:a16="http://schemas.microsoft.com/office/drawing/2014/main" id="{30E8CAE5-9552-4F56-BD9E-0EA1626B371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0" name="Rectangle 9">
            <a:extLst>
              <a:ext uri="{FF2B5EF4-FFF2-40B4-BE49-F238E27FC236}">
                <a16:creationId xmlns:a16="http://schemas.microsoft.com/office/drawing/2014/main" id="{3B1A7618-3887-4838-98CE-FDFA033A94BE}"/>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a:extLst>
              <a:ext uri="{FF2B5EF4-FFF2-40B4-BE49-F238E27FC236}">
                <a16:creationId xmlns:a16="http://schemas.microsoft.com/office/drawing/2014/main" id="{247F5898-E811-49FE-9FB9-91A9366B7AA4}"/>
              </a:ext>
            </a:extLst>
          </p:cNvPr>
          <p:cNvPicPr>
            <a:picLocks noChangeAspect="1"/>
          </p:cNvPicPr>
          <p:nvPr userDrawn="1"/>
        </p:nvPicPr>
        <p:blipFill>
          <a:blip r:embed="rId3"/>
          <a:stretch>
            <a:fillRect/>
          </a:stretch>
        </p:blipFill>
        <p:spPr>
          <a:xfrm>
            <a:off x="9704211" y="-533174"/>
            <a:ext cx="2001788" cy="2001788"/>
          </a:xfrm>
          <a:prstGeom prst="rect">
            <a:avLst/>
          </a:prstGeom>
        </p:spPr>
      </p:pic>
    </p:spTree>
    <p:extLst>
      <p:ext uri="{BB962C8B-B14F-4D97-AF65-F5344CB8AC3E}">
        <p14:creationId xmlns:p14="http://schemas.microsoft.com/office/powerpoint/2010/main" val="1460189260"/>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Reading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a:extLst>
              <a:ext uri="{FF2B5EF4-FFF2-40B4-BE49-F238E27FC236}">
                <a16:creationId xmlns:a16="http://schemas.microsoft.com/office/drawing/2014/main" id="{F01F053B-EA68-4703-907E-7E15F96856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142"/>
          <a:stretch/>
        </p:blipFill>
        <p:spPr>
          <a:xfrm>
            <a:off x="0" y="-9635"/>
            <a:ext cx="12205313" cy="6877270"/>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rotWithShape="1">
          <a:blip r:embed="rId3"/>
          <a:srcRect t="961" r="961"/>
          <a:stretch/>
        </p:blipFill>
        <p:spPr>
          <a:xfrm>
            <a:off x="0" y="-9635"/>
            <a:ext cx="12205313" cy="6877271"/>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5" name="Title 3">
            <a:extLst>
              <a:ext uri="{FF2B5EF4-FFF2-40B4-BE49-F238E27FC236}">
                <a16:creationId xmlns:a16="http://schemas.microsoft.com/office/drawing/2014/main" id="{ED3F3304-66DE-4F29-90EB-5BC19F5774C0}"/>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6" name="Subtitle 2">
            <a:extLst>
              <a:ext uri="{FF2B5EF4-FFF2-40B4-BE49-F238E27FC236}">
                <a16:creationId xmlns:a16="http://schemas.microsoft.com/office/drawing/2014/main" id="{11EA8EB2-3081-4B7E-9F1C-654550BC9A44}"/>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7" name="Text Placeholder 37">
            <a:extLst>
              <a:ext uri="{FF2B5EF4-FFF2-40B4-BE49-F238E27FC236}">
                <a16:creationId xmlns:a16="http://schemas.microsoft.com/office/drawing/2014/main" id="{A5E2838D-A8DD-4BF1-868D-0F660F5599CD}"/>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25562811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DF81EA6-D1F1-D543-82CC-B020DB67B186}"/>
              </a:ext>
            </a:extLst>
          </p:cNvPr>
          <p:cNvPicPr>
            <a:picLocks noChangeAspect="1"/>
          </p:cNvPicPr>
          <p:nvPr userDrawn="1"/>
        </p:nvPicPr>
        <p:blipFill rotWithShape="1">
          <a:blip r:embed="rId3"/>
          <a:srcRect r="26448" b="2359"/>
          <a:stretch/>
        </p:blipFill>
        <p:spPr>
          <a:xfrm>
            <a:off x="10196287" y="3706793"/>
            <a:ext cx="1995713" cy="3151207"/>
          </a:xfrm>
          <a:prstGeom prst="rect">
            <a:avLst/>
          </a:prstGeom>
        </p:spPr>
      </p:pic>
      <p:pic>
        <p:nvPicPr>
          <p:cNvPr id="8" name="Picture 7">
            <a:extLst>
              <a:ext uri="{FF2B5EF4-FFF2-40B4-BE49-F238E27FC236}">
                <a16:creationId xmlns:a16="http://schemas.microsoft.com/office/drawing/2014/main" id="{23C68492-8D5F-6346-B766-88FD9D4D6D9A}"/>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5" y="507629"/>
            <a:ext cx="4027064" cy="638265"/>
          </a:xfrm>
          <a:prstGeom prst="rect">
            <a:avLst/>
          </a:prstGeom>
        </p:spPr>
      </p:pic>
      <p:sp>
        <p:nvSpPr>
          <p:cNvPr id="9" name="Rectangle 8">
            <a:extLst>
              <a:ext uri="{FF2B5EF4-FFF2-40B4-BE49-F238E27FC236}">
                <a16:creationId xmlns:a16="http://schemas.microsoft.com/office/drawing/2014/main" id="{88FC23B3-8C0E-42CB-A4CE-D294A830124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3">
            <a:extLst>
              <a:ext uri="{FF2B5EF4-FFF2-40B4-BE49-F238E27FC236}">
                <a16:creationId xmlns:a16="http://schemas.microsoft.com/office/drawing/2014/main" id="{69E99D77-1116-41BB-93B3-070995C76B59}"/>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tx1"/>
                </a:solidFill>
              </a:defRPr>
            </a:lvl1pPr>
          </a:lstStyle>
          <a:p>
            <a:r>
              <a:rPr lang="en-GB" dirty="0"/>
              <a:t>CLICK TO EDIT TITLE SLIDE COPY</a:t>
            </a:r>
            <a:endParaRPr lang="en-US" dirty="0"/>
          </a:p>
        </p:txBody>
      </p:sp>
      <p:sp>
        <p:nvSpPr>
          <p:cNvPr id="11" name="Subtitle 2">
            <a:extLst>
              <a:ext uri="{FF2B5EF4-FFF2-40B4-BE49-F238E27FC236}">
                <a16:creationId xmlns:a16="http://schemas.microsoft.com/office/drawing/2014/main" id="{2468FDA3-64DC-41FF-BF14-8549BB3B8F82}"/>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tx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2" name="Text Placeholder 37">
            <a:extLst>
              <a:ext uri="{FF2B5EF4-FFF2-40B4-BE49-F238E27FC236}">
                <a16:creationId xmlns:a16="http://schemas.microsoft.com/office/drawing/2014/main" id="{A6F0E28C-6B10-4698-95C3-EE209BF4A5FC}"/>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tx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40951161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ngle Header, Wave">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F829B6-8F65-9C49-8B56-C81689650C91}"/>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wave</a:t>
            </a:r>
            <a:endParaRPr lang="en-GB" dirty="0"/>
          </a:p>
        </p:txBody>
      </p:sp>
      <p:sp>
        <p:nvSpPr>
          <p:cNvPr id="7" name="Text Placeholder 6">
            <a:extLst>
              <a:ext uri="{FF2B5EF4-FFF2-40B4-BE49-F238E27FC236}">
                <a16:creationId xmlns:a16="http://schemas.microsoft.com/office/drawing/2014/main" id="{A6526A71-AA71-0340-ADDE-15A0DA0261A2}"/>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92369665-BC8A-471B-B121-B84A3BF08535}"/>
              </a:ext>
            </a:extLst>
          </p:cNvPr>
          <p:cNvSpPr>
            <a:spLocks noGrp="1"/>
          </p:cNvSpPr>
          <p:nvPr>
            <p:ph type="sldNum" sz="quarter" idx="15"/>
          </p:nvPr>
        </p:nvSpPr>
        <p:spPr/>
        <p:txBody>
          <a:bodyPr/>
          <a:lstStyle/>
          <a:p>
            <a:fld id="{3787542D-5C6B-4EB3-96EB-9B37C3D5D2F8}" type="slidenum">
              <a:rPr lang="en-GB" smtClean="0"/>
              <a:t>‹#›</a:t>
            </a:fld>
            <a:endParaRPr lang="en-GB"/>
          </a:p>
        </p:txBody>
      </p:sp>
      <p:pic>
        <p:nvPicPr>
          <p:cNvPr id="12" name="Picture 11">
            <a:extLst>
              <a:ext uri="{FF2B5EF4-FFF2-40B4-BE49-F238E27FC236}">
                <a16:creationId xmlns:a16="http://schemas.microsoft.com/office/drawing/2014/main" id="{F3460EA9-D4DD-4016-B2DB-8443B4C3EB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4" name="Content Placeholder 2">
            <a:extLst>
              <a:ext uri="{FF2B5EF4-FFF2-40B4-BE49-F238E27FC236}">
                <a16:creationId xmlns:a16="http://schemas.microsoft.com/office/drawing/2014/main" id="{63FA559B-338C-486F-B850-4917C9ABA26A}"/>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8" name="Picture 7">
            <a:extLst>
              <a:ext uri="{FF2B5EF4-FFF2-40B4-BE49-F238E27FC236}">
                <a16:creationId xmlns:a16="http://schemas.microsoft.com/office/drawing/2014/main" id="{28CF5E35-E11F-4B1A-8551-321DFB3F3A46}"/>
              </a:ext>
            </a:extLst>
          </p:cNvPr>
          <p:cNvPicPr>
            <a:picLocks noChangeAspect="1"/>
          </p:cNvPicPr>
          <p:nvPr userDrawn="1"/>
        </p:nvPicPr>
        <p:blipFill rotWithShape="1">
          <a:blip r:embed="rId3"/>
          <a:srcRect t="14404" r="11961"/>
          <a:stretch/>
        </p:blipFill>
        <p:spPr>
          <a:xfrm>
            <a:off x="10752141" y="-1"/>
            <a:ext cx="1439859" cy="1665091"/>
          </a:xfrm>
          <a:prstGeom prst="rect">
            <a:avLst/>
          </a:prstGeom>
        </p:spPr>
      </p:pic>
      <p:sp>
        <p:nvSpPr>
          <p:cNvPr id="9" name="Rectangle 8">
            <a:extLst>
              <a:ext uri="{FF2B5EF4-FFF2-40B4-BE49-F238E27FC236}">
                <a16:creationId xmlns:a16="http://schemas.microsoft.com/office/drawing/2014/main" id="{4E8C924B-FE6C-4195-94BA-9C7F88E4620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76083303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ouble Header, Wave">
    <p:bg>
      <p:bgRef idx="1001">
        <a:schemeClr val="bg1"/>
      </p:bgRef>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F748C296-1AF5-F847-854D-2C0B9016D0CC}"/>
              </a:ext>
            </a:extLst>
          </p:cNvPr>
          <p:cNvSpPr>
            <a:spLocks noGrp="1"/>
          </p:cNvSpPr>
          <p:nvPr>
            <p:ph type="title" hasCustomPrompt="1"/>
          </p:nvPr>
        </p:nvSpPr>
        <p:spPr>
          <a:xfrm>
            <a:off x="486000" y="377055"/>
            <a:ext cx="8861199" cy="1050665"/>
          </a:xfrm>
          <a:prstGeom prst="rect">
            <a:avLst/>
          </a:prstGeom>
        </p:spPr>
        <p:txBody>
          <a:bodyPr lIns="0" tIns="0" rIns="0" bIns="0"/>
          <a:lstStyle>
            <a:lvl1pPr>
              <a:lnSpc>
                <a:spcPct val="100000"/>
              </a:lnSpc>
              <a:defRPr sz="3600" b="1" cap="all" spc="-100" baseline="0">
                <a:latin typeface="+mj-lt"/>
              </a:defRPr>
            </a:lvl1pPr>
          </a:lstStyle>
          <a:p>
            <a:r>
              <a:rPr lang="en-US" dirty="0"/>
              <a:t>TEXT-ONLY, </a:t>
            </a:r>
            <a:br>
              <a:rPr lang="en-US" dirty="0"/>
            </a:br>
            <a:r>
              <a:rPr lang="en-US" dirty="0"/>
              <a:t>double title, Wave</a:t>
            </a:r>
            <a:endParaRPr lang="en-GB" dirty="0"/>
          </a:p>
        </p:txBody>
      </p:sp>
      <p:sp>
        <p:nvSpPr>
          <p:cNvPr id="12" name="Text Placeholder 6">
            <a:extLst>
              <a:ext uri="{FF2B5EF4-FFF2-40B4-BE49-F238E27FC236}">
                <a16:creationId xmlns:a16="http://schemas.microsoft.com/office/drawing/2014/main" id="{9ABC905B-966A-324C-BD60-0E81083AC33D}"/>
              </a:ext>
            </a:extLst>
          </p:cNvPr>
          <p:cNvSpPr>
            <a:spLocks noGrp="1"/>
          </p:cNvSpPr>
          <p:nvPr>
            <p:ph type="body" sz="quarter" idx="11" hasCustomPrompt="1"/>
          </p:nvPr>
        </p:nvSpPr>
        <p:spPr>
          <a:xfrm>
            <a:off x="486001" y="1478542"/>
            <a:ext cx="8861198" cy="265988"/>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037BF37D-2880-4F22-BF1C-E12327041CEE}"/>
              </a:ext>
            </a:extLst>
          </p:cNvPr>
          <p:cNvSpPr>
            <a:spLocks noGrp="1"/>
          </p:cNvSpPr>
          <p:nvPr>
            <p:ph type="sldNum" sz="quarter" idx="15"/>
          </p:nvPr>
        </p:nvSpPr>
        <p:spPr/>
        <p:txBody>
          <a:bodyPr/>
          <a:lstStyle/>
          <a:p>
            <a:fld id="{3787542D-5C6B-4EB3-96EB-9B37C3D5D2F8}" type="slidenum">
              <a:rPr lang="en-GB" smtClean="0"/>
              <a:t>‹#›</a:t>
            </a:fld>
            <a:endParaRPr lang="en-GB"/>
          </a:p>
        </p:txBody>
      </p:sp>
      <p:pic>
        <p:nvPicPr>
          <p:cNvPr id="10" name="Picture 9">
            <a:extLst>
              <a:ext uri="{FF2B5EF4-FFF2-40B4-BE49-F238E27FC236}">
                <a16:creationId xmlns:a16="http://schemas.microsoft.com/office/drawing/2014/main" id="{347351B7-E485-44DD-B302-44521BBD79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8" name="Rectangle 7">
            <a:extLst>
              <a:ext uri="{FF2B5EF4-FFF2-40B4-BE49-F238E27FC236}">
                <a16:creationId xmlns:a16="http://schemas.microsoft.com/office/drawing/2014/main" id="{4FCE2DE8-03B2-4D41-8C78-EBE9436DA30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 name="Picture 12">
            <a:extLst>
              <a:ext uri="{FF2B5EF4-FFF2-40B4-BE49-F238E27FC236}">
                <a16:creationId xmlns:a16="http://schemas.microsoft.com/office/drawing/2014/main" id="{067E1D56-EE88-4285-A53B-0932B967C19E}"/>
              </a:ext>
            </a:extLst>
          </p:cNvPr>
          <p:cNvPicPr>
            <a:picLocks noChangeAspect="1"/>
          </p:cNvPicPr>
          <p:nvPr userDrawn="1"/>
        </p:nvPicPr>
        <p:blipFill rotWithShape="1">
          <a:blip r:embed="rId3"/>
          <a:srcRect t="14404" r="11961"/>
          <a:stretch/>
        </p:blipFill>
        <p:spPr>
          <a:xfrm>
            <a:off x="10752141" y="-1"/>
            <a:ext cx="1439859" cy="1665091"/>
          </a:xfrm>
          <a:prstGeom prst="rect">
            <a:avLst/>
          </a:prstGeom>
        </p:spPr>
      </p:pic>
      <p:sp>
        <p:nvSpPr>
          <p:cNvPr id="17" name="Content Placeholder 2">
            <a:extLst>
              <a:ext uri="{FF2B5EF4-FFF2-40B4-BE49-F238E27FC236}">
                <a16:creationId xmlns:a16="http://schemas.microsoft.com/office/drawing/2014/main" id="{4B2494E1-75C6-413F-8FD3-FCD1249C99A9}"/>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2924761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ingle Header, Circle">
    <p:bg>
      <p:bgRef idx="1001">
        <a:schemeClr val="bg1"/>
      </p:bgRef>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96C8B7C-F5E9-4230-9AB4-F7884F6DCEFF}"/>
              </a:ext>
            </a:extLst>
          </p:cNvPr>
          <p:cNvSpPr>
            <a:spLocks noGrp="1"/>
          </p:cNvSpPr>
          <p:nvPr>
            <p:ph type="sldNum" sz="quarter" idx="15"/>
          </p:nvPr>
        </p:nvSpPr>
        <p:spPr/>
        <p:txBody>
          <a:bodyPr/>
          <a:lstStyle/>
          <a:p>
            <a:fld id="{3787542D-5C6B-4EB3-96EB-9B37C3D5D2F8}" type="slidenum">
              <a:rPr lang="en-GB" smtClean="0"/>
              <a:t>‹#›</a:t>
            </a:fld>
            <a:endParaRPr lang="en-GB"/>
          </a:p>
        </p:txBody>
      </p:sp>
      <p:pic>
        <p:nvPicPr>
          <p:cNvPr id="10" name="Picture 9">
            <a:extLst>
              <a:ext uri="{FF2B5EF4-FFF2-40B4-BE49-F238E27FC236}">
                <a16:creationId xmlns:a16="http://schemas.microsoft.com/office/drawing/2014/main" id="{F75F41FD-917A-4663-A5C6-237A858D449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pic>
        <p:nvPicPr>
          <p:cNvPr id="8" name="Picture 7">
            <a:extLst>
              <a:ext uri="{FF2B5EF4-FFF2-40B4-BE49-F238E27FC236}">
                <a16:creationId xmlns:a16="http://schemas.microsoft.com/office/drawing/2014/main" id="{7B66D97F-2F14-49EB-AF7D-A8A210E06063}"/>
              </a:ext>
            </a:extLst>
          </p:cNvPr>
          <p:cNvPicPr>
            <a:picLocks noChangeAspect="1"/>
          </p:cNvPicPr>
          <p:nvPr userDrawn="1"/>
        </p:nvPicPr>
        <p:blipFill rotWithShape="1">
          <a:blip r:embed="rId3"/>
          <a:srcRect t="26635"/>
          <a:stretch/>
        </p:blipFill>
        <p:spPr>
          <a:xfrm>
            <a:off x="9704211" y="0"/>
            <a:ext cx="2001788" cy="1468614"/>
          </a:xfrm>
          <a:prstGeom prst="rect">
            <a:avLst/>
          </a:prstGeom>
        </p:spPr>
      </p:pic>
      <p:sp>
        <p:nvSpPr>
          <p:cNvPr id="9" name="Rectangle 8">
            <a:extLst>
              <a:ext uri="{FF2B5EF4-FFF2-40B4-BE49-F238E27FC236}">
                <a16:creationId xmlns:a16="http://schemas.microsoft.com/office/drawing/2014/main" id="{5549C332-7D05-4B2C-B10B-3EC9E0486C4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itle 1">
            <a:extLst>
              <a:ext uri="{FF2B5EF4-FFF2-40B4-BE49-F238E27FC236}">
                <a16:creationId xmlns:a16="http://schemas.microsoft.com/office/drawing/2014/main" id="{8B5867CB-5182-4D59-BCAA-77E71C867107}"/>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circle</a:t>
            </a:r>
            <a:endParaRPr lang="en-GB" dirty="0"/>
          </a:p>
        </p:txBody>
      </p:sp>
      <p:sp>
        <p:nvSpPr>
          <p:cNvPr id="12" name="Text Placeholder 6">
            <a:extLst>
              <a:ext uri="{FF2B5EF4-FFF2-40B4-BE49-F238E27FC236}">
                <a16:creationId xmlns:a16="http://schemas.microsoft.com/office/drawing/2014/main" id="{DE48DEFD-E9D3-4089-B606-B7A6D6FCBF16}"/>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4" name="Content Placeholder 2">
            <a:extLst>
              <a:ext uri="{FF2B5EF4-FFF2-40B4-BE49-F238E27FC236}">
                <a16:creationId xmlns:a16="http://schemas.microsoft.com/office/drawing/2014/main" id="{03619165-8026-480F-BCFB-2C0A433F01C6}"/>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40816098"/>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3E1AB9D-4722-4847-9D17-393008E7BCEF}"/>
              </a:ext>
            </a:extLst>
          </p:cNvPr>
          <p:cNvSpPr>
            <a:spLocks noGrp="1"/>
          </p:cNvSpPr>
          <p:nvPr>
            <p:ph type="sldNum" sz="quarter" idx="4"/>
          </p:nvPr>
        </p:nvSpPr>
        <p:spPr>
          <a:xfrm>
            <a:off x="9182100" y="626110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87542D-5C6B-4EB3-96EB-9B37C3D5D2F8}" type="slidenum">
              <a:rPr lang="en-GB" smtClean="0"/>
              <a:t>‹#›</a:t>
            </a:fld>
            <a:endParaRPr lang="en-GB"/>
          </a:p>
        </p:txBody>
      </p:sp>
      <p:sp>
        <p:nvSpPr>
          <p:cNvPr id="2" name="MSIPCMContentMarking" descr="{&quot;HashCode&quot;:-685326706,&quot;Placement&quot;:&quot;Footer&quot;,&quot;Top&quot;:519.343,&quot;Left&quot;:0.0,&quot;SlideWidth&quot;:960,&quot;SlideHeight&quot;:540}">
            <a:extLst>
              <a:ext uri="{FF2B5EF4-FFF2-40B4-BE49-F238E27FC236}">
                <a16:creationId xmlns:a16="http://schemas.microsoft.com/office/drawing/2014/main" id="{9BB56318-D0CF-4942-BC59-306D1F6A9197}"/>
              </a:ext>
            </a:extLst>
          </p:cNvPr>
          <p:cNvSpPr txBox="1"/>
          <p:nvPr userDrawn="1"/>
        </p:nvSpPr>
        <p:spPr>
          <a:xfrm>
            <a:off x="0" y="6595656"/>
            <a:ext cx="1631108" cy="262344"/>
          </a:xfrm>
          <a:prstGeom prst="rect">
            <a:avLst/>
          </a:prstGeom>
          <a:noFill/>
        </p:spPr>
        <p:txBody>
          <a:bodyPr vert="horz" wrap="square" lIns="0" tIns="0" rIns="0" bIns="0" rtlCol="0" anchor="ctr" anchorCtr="1">
            <a:spAutoFit/>
          </a:bodyPr>
          <a:lstStyle/>
          <a:p>
            <a:pPr algn="l">
              <a:spcBef>
                <a:spcPts val="0"/>
              </a:spcBef>
              <a:spcAft>
                <a:spcPts val="0"/>
              </a:spcAft>
            </a:pPr>
            <a:r>
              <a:rPr lang="en-GB" sz="1000">
                <a:solidFill>
                  <a:srgbClr val="000000"/>
                </a:solidFill>
                <a:latin typeface="Calibri" panose="020F0502020204030204" pitchFamily="34" charset="0"/>
              </a:rPr>
              <a:t>Classified: RMG – Internal</a:t>
            </a:r>
          </a:p>
        </p:txBody>
      </p:sp>
    </p:spTree>
    <p:extLst>
      <p:ext uri="{BB962C8B-B14F-4D97-AF65-F5344CB8AC3E}">
        <p14:creationId xmlns:p14="http://schemas.microsoft.com/office/powerpoint/2010/main" val="3013337613"/>
      </p:ext>
    </p:extLst>
  </p:cSld>
  <p:clrMap bg1="lt1" tx1="dk1" bg2="lt2" tx2="dk2" accent1="accent1" accent2="accent2" accent3="accent3" accent4="accent4" accent5="accent5" accent6="accent6" hlink="hlink" folHlink="folHlink"/>
  <p:sldLayoutIdLst>
    <p:sldLayoutId id="2147483752" r:id="rId1"/>
    <p:sldLayoutId id="2147483685" r:id="rId2"/>
    <p:sldLayoutId id="2147483753" r:id="rId3"/>
    <p:sldLayoutId id="2147483754" r:id="rId4"/>
    <p:sldLayoutId id="2147483755" r:id="rId5"/>
    <p:sldLayoutId id="2147483738" r:id="rId6"/>
    <p:sldLayoutId id="2147483740" r:id="rId7"/>
    <p:sldLayoutId id="2147483742" r:id="rId8"/>
    <p:sldLayoutId id="2147483723" r:id="rId9"/>
    <p:sldLayoutId id="2147483741" r:id="rId10"/>
    <p:sldLayoutId id="2147483767" r:id="rId11"/>
    <p:sldLayoutId id="2147483691" r:id="rId12"/>
    <p:sldLayoutId id="2147483760" r:id="rId13"/>
    <p:sldLayoutId id="2147483761" r:id="rId14"/>
    <p:sldLayoutId id="2147483734" r:id="rId15"/>
    <p:sldLayoutId id="2147483762" r:id="rId16"/>
    <p:sldLayoutId id="2147483739" r:id="rId17"/>
    <p:sldLayoutId id="2147483763" r:id="rId18"/>
    <p:sldLayoutId id="2147483764" r:id="rId19"/>
    <p:sldLayoutId id="2147483765" r:id="rId20"/>
    <p:sldLayoutId id="2147483766" r:id="rId21"/>
    <p:sldLayoutId id="2147483722" r:id="rId22"/>
    <p:sldLayoutId id="2147483724" r:id="rId23"/>
    <p:sldLayoutId id="2147483725" r:id="rId24"/>
    <p:sldLayoutId id="2147483726" r:id="rId25"/>
    <p:sldLayoutId id="2147483721" r:id="rId26"/>
    <p:sldLayoutId id="2147483744" r:id="rId27"/>
    <p:sldLayoutId id="2147483745" r:id="rId28"/>
    <p:sldLayoutId id="2147483746" r:id="rId29"/>
    <p:sldLayoutId id="2147483768" r:id="rId30"/>
    <p:sldLayoutId id="2147483711" r:id="rId31"/>
    <p:sldLayoutId id="2147483712" r:id="rId32"/>
    <p:sldLayoutId id="2147483713" r:id="rId33"/>
    <p:sldLayoutId id="2147483714" r:id="rId34"/>
    <p:sldLayoutId id="2147483715" r:id="rId35"/>
    <p:sldLayoutId id="2147483756" r:id="rId36"/>
    <p:sldLayoutId id="2147483733" r:id="rId37"/>
    <p:sldLayoutId id="2147483757" r:id="rId38"/>
    <p:sldLayoutId id="2147483758" r:id="rId39"/>
    <p:sldLayoutId id="2147483759" r:id="rId40"/>
    <p:sldLayoutId id="2147483737" r:id="rId41"/>
    <p:sldLayoutId id="2147483769" r:id="rId4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slideLayout" Target="../slideLayouts/slideLayout10.xml"/><Relationship Id="rId1" Type="http://schemas.openxmlformats.org/officeDocument/2006/relationships/tags" Target="../tags/tag10.xml"/><Relationship Id="rId4" Type="http://schemas.openxmlformats.org/officeDocument/2006/relationships/image" Target="file:////var/folders/yq/8lp5_fqx6p52y_y4s5fy2m6h0000gn/T/com.microsoft.Word/WebArchiveCopyPasteTempFiles/PO.jpg" TargetMode="External"/></Relationships>
</file>

<file path=ppt/slides/_rels/slide11.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slideLayout" Target="../slideLayouts/slideLayout7.xml"/><Relationship Id="rId5" Type="http://schemas.openxmlformats.org/officeDocument/2006/relationships/tags" Target="../tags/tag15.xml"/><Relationship Id="rId4" Type="http://schemas.openxmlformats.org/officeDocument/2006/relationships/tags" Target="../tags/tag14.xml"/></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www.royalmail.com/TIS-Advertising-Mail-application" TargetMode="External"/><Relationship Id="rId1" Type="http://schemas.openxmlformats.org/officeDocument/2006/relationships/slideLayout" Target="../slideLayouts/slideLayout7.xml"/><Relationship Id="rId4" Type="http://schemas.openxmlformats.org/officeDocument/2006/relationships/image" Target="../media/image30.sv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7.xml"/><Relationship Id="rId4" Type="http://schemas.openxmlformats.org/officeDocument/2006/relationships/chart" Target="../charts/chart3.xml"/></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42.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7.xml"/><Relationship Id="rId5" Type="http://schemas.openxmlformats.org/officeDocument/2006/relationships/hyperlink" Target="https://drive.google.com/file/d/1IiNb5pgHQ1rl1xAPUsL848n8WSTStNZ7/view" TargetMode="External"/><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slideLayout" Target="../slideLayouts/slideLayout8.xml"/><Relationship Id="rId1" Type="http://schemas.openxmlformats.org/officeDocument/2006/relationships/tags" Target="../tags/tag9.xml"/><Relationship Id="rId4" Type="http://schemas.openxmlformats.org/officeDocument/2006/relationships/image" Target="file:////var/folders/yq/8lp5_fqx6p52y_y4s5fy2m6h0000gn/T/com.microsoft.Word/WebArchiveCopyPasteTempFiles/Tbae58b256443-proj013267_vw-cv8-oos-chassis-cab-a5-postcards_v0.04_page_1_5bae58b256356-857.jpg" TargetMode="External"/></Relationships>
</file>

<file path=ppt/slides/_rels/slide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8C6EB-9D13-4215-BA45-9FCEEB4A77DA}"/>
              </a:ext>
            </a:extLst>
          </p:cNvPr>
          <p:cNvSpPr>
            <a:spLocks noGrp="1"/>
          </p:cNvSpPr>
          <p:nvPr>
            <p:ph type="title"/>
          </p:nvPr>
        </p:nvSpPr>
        <p:spPr>
          <a:xfrm>
            <a:off x="419094" y="2303969"/>
            <a:ext cx="10515600" cy="1325563"/>
          </a:xfrm>
        </p:spPr>
        <p:txBody>
          <a:bodyPr/>
          <a:lstStyle/>
          <a:p>
            <a:r>
              <a:rPr lang="en-GB" dirty="0"/>
              <a:t>USING IMAGE TECHNOLOGY IN MAIL TO DRIVE ONLINE BEHAVIOUR &amp; CONSUMER ENGAGEMENT</a:t>
            </a:r>
          </a:p>
        </p:txBody>
      </p:sp>
      <p:sp>
        <p:nvSpPr>
          <p:cNvPr id="3" name="Subtitle 2">
            <a:extLst>
              <a:ext uri="{FF2B5EF4-FFF2-40B4-BE49-F238E27FC236}">
                <a16:creationId xmlns:a16="http://schemas.microsoft.com/office/drawing/2014/main" id="{008AB649-163C-426F-A34A-156C0915F013}"/>
              </a:ext>
            </a:extLst>
          </p:cNvPr>
          <p:cNvSpPr>
            <a:spLocks noGrp="1"/>
          </p:cNvSpPr>
          <p:nvPr>
            <p:ph type="subTitle" idx="1"/>
          </p:nvPr>
        </p:nvSpPr>
        <p:spPr>
          <a:xfrm>
            <a:off x="530604" y="3891545"/>
            <a:ext cx="11140874" cy="264956"/>
          </a:xfrm>
        </p:spPr>
        <p:txBody>
          <a:bodyPr/>
          <a:lstStyle/>
          <a:p>
            <a:r>
              <a:rPr lang="en-GB" dirty="0"/>
              <a:t>The seamless connection from offline to online</a:t>
            </a:r>
          </a:p>
        </p:txBody>
      </p:sp>
      <p:sp>
        <p:nvSpPr>
          <p:cNvPr id="4" name="Text Placeholder 3">
            <a:extLst>
              <a:ext uri="{FF2B5EF4-FFF2-40B4-BE49-F238E27FC236}">
                <a16:creationId xmlns:a16="http://schemas.microsoft.com/office/drawing/2014/main" id="{8882ECFD-4549-45CE-8E1C-086FD5B293D6}"/>
              </a:ext>
            </a:extLst>
          </p:cNvPr>
          <p:cNvSpPr>
            <a:spLocks noGrp="1"/>
          </p:cNvSpPr>
          <p:nvPr>
            <p:ph type="body" sz="quarter" idx="10"/>
          </p:nvPr>
        </p:nvSpPr>
        <p:spPr>
          <a:xfrm>
            <a:off x="530604" y="4286471"/>
            <a:ext cx="11140874" cy="241784"/>
          </a:xfrm>
        </p:spPr>
        <p:txBody>
          <a:bodyPr/>
          <a:lstStyle/>
          <a:p>
            <a:r>
              <a:rPr lang="en-GB" dirty="0"/>
              <a:t>3 August 2020</a:t>
            </a:r>
          </a:p>
        </p:txBody>
      </p:sp>
    </p:spTree>
    <p:extLst>
      <p:ext uri="{BB962C8B-B14F-4D97-AF65-F5344CB8AC3E}">
        <p14:creationId xmlns:p14="http://schemas.microsoft.com/office/powerpoint/2010/main" val="10382013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5EDD86-7568-41A3-B820-36196EF9F583}"/>
              </a:ext>
            </a:extLst>
          </p:cNvPr>
          <p:cNvSpPr>
            <a:spLocks noGrp="1"/>
          </p:cNvSpPr>
          <p:nvPr>
            <p:ph type="title"/>
          </p:nvPr>
        </p:nvSpPr>
        <p:spPr/>
        <p:txBody>
          <a:bodyPr/>
          <a:lstStyle/>
          <a:p>
            <a:r>
              <a:rPr lang="en-US" dirty="0"/>
              <a:t>P&amp;O USED AUGMENTED REALITY TO HELP THEIR NEW SHIP SAIL</a:t>
            </a:r>
            <a:endParaRPr lang="en-GB" dirty="0"/>
          </a:p>
        </p:txBody>
      </p:sp>
      <p:sp>
        <p:nvSpPr>
          <p:cNvPr id="3" name="Slide Number Placeholder 2">
            <a:extLst>
              <a:ext uri="{FF2B5EF4-FFF2-40B4-BE49-F238E27FC236}">
                <a16:creationId xmlns:a16="http://schemas.microsoft.com/office/drawing/2014/main" id="{8890F090-DE3D-4F43-912D-5CD5E6D5D8F2}"/>
              </a:ext>
            </a:extLst>
          </p:cNvPr>
          <p:cNvSpPr>
            <a:spLocks noGrp="1"/>
          </p:cNvSpPr>
          <p:nvPr>
            <p:ph type="sldNum" sz="quarter" idx="15"/>
          </p:nvPr>
        </p:nvSpPr>
        <p:spPr/>
        <p:txBody>
          <a:bodyPr/>
          <a:lstStyle/>
          <a:p>
            <a:fld id="{3787542D-5C6B-4EB3-96EB-9B37C3D5D2F8}" type="slidenum">
              <a:rPr lang="en-GB" smtClean="0"/>
              <a:t>10</a:t>
            </a:fld>
            <a:endParaRPr lang="en-GB" dirty="0"/>
          </a:p>
        </p:txBody>
      </p:sp>
      <p:sp>
        <p:nvSpPr>
          <p:cNvPr id="4" name="Content Placeholder 3">
            <a:extLst>
              <a:ext uri="{FF2B5EF4-FFF2-40B4-BE49-F238E27FC236}">
                <a16:creationId xmlns:a16="http://schemas.microsoft.com/office/drawing/2014/main" id="{32035806-A632-455D-BD11-61D31A91C8DB}"/>
              </a:ext>
            </a:extLst>
          </p:cNvPr>
          <p:cNvSpPr>
            <a:spLocks noGrp="1"/>
          </p:cNvSpPr>
          <p:nvPr>
            <p:ph sz="quarter" idx="13"/>
          </p:nvPr>
        </p:nvSpPr>
        <p:spPr>
          <a:xfrm>
            <a:off x="485775" y="1781175"/>
            <a:ext cx="11323365" cy="4476750"/>
          </a:xfrm>
        </p:spPr>
        <p:txBody>
          <a:bodyPr/>
          <a:lstStyle/>
          <a:p>
            <a:pPr marL="0" indent="0">
              <a:buNone/>
            </a:pPr>
            <a:r>
              <a:rPr lang="en-GB" b="1" dirty="0"/>
              <a:t>Background</a:t>
            </a:r>
          </a:p>
          <a:p>
            <a:pPr marL="0" indent="0" fontAlgn="base">
              <a:buNone/>
            </a:pPr>
            <a:r>
              <a:rPr lang="en-US" dirty="0"/>
              <a:t>P&amp;O Cruises wanted guests and travel agents to get excited about the launch of their most innovative, new cruise ship – The Iona – before it launched.</a:t>
            </a:r>
          </a:p>
          <a:p>
            <a:pPr marL="0" indent="0" fontAlgn="base">
              <a:buNone/>
            </a:pPr>
            <a:r>
              <a:rPr lang="en-GB" b="1" dirty="0"/>
              <a:t>Solution</a:t>
            </a:r>
            <a:endParaRPr lang="en-US" dirty="0"/>
          </a:p>
          <a:p>
            <a:pPr marL="0" indent="0">
              <a:buNone/>
            </a:pPr>
            <a:r>
              <a:rPr lang="en-GB" dirty="0"/>
              <a:t>P&amp;O Cruises sent an augmented reality mailing that gave recipients an interactive 3D experience of Iona.</a:t>
            </a:r>
          </a:p>
          <a:p>
            <a:pPr marL="0" indent="0">
              <a:buNone/>
            </a:pPr>
            <a:r>
              <a:rPr lang="en-GB" dirty="0"/>
              <a:t>By opening an app and holding the phone over the mailing, Iona burst into life and could be explored from bow to stern.  ‘Visitors’ could win a cruise.</a:t>
            </a:r>
          </a:p>
          <a:p>
            <a:pPr marL="0" indent="0">
              <a:buNone/>
            </a:pPr>
            <a:r>
              <a:rPr lang="en-GB" b="1" dirty="0"/>
              <a:t>Results</a:t>
            </a:r>
            <a:endParaRPr lang="en-US" dirty="0"/>
          </a:p>
          <a:p>
            <a:pPr marL="0" indent="0">
              <a:spcBef>
                <a:spcPts val="0"/>
              </a:spcBef>
              <a:buNone/>
            </a:pPr>
            <a:r>
              <a:rPr lang="en-GB" dirty="0"/>
              <a:t>A week after launch P&amp;O Cruises beat their targets for number of </a:t>
            </a:r>
          </a:p>
          <a:p>
            <a:pPr marL="0" indent="0">
              <a:spcBef>
                <a:spcPts val="0"/>
              </a:spcBef>
              <a:buNone/>
            </a:pPr>
            <a:r>
              <a:rPr lang="en-GB" dirty="0"/>
              <a:t>views and dwell time.</a:t>
            </a:r>
          </a:p>
          <a:p>
            <a:endParaRPr lang="en-GB" dirty="0"/>
          </a:p>
        </p:txBody>
      </p:sp>
      <p:pic>
        <p:nvPicPr>
          <p:cNvPr id="6" name="Picture 3" descr="P&amp;O Cruises launches the cruise industry's first augmented reality ...">
            <a:extLst>
              <a:ext uri="{FF2B5EF4-FFF2-40B4-BE49-F238E27FC236}">
                <a16:creationId xmlns:a16="http://schemas.microsoft.com/office/drawing/2014/main" id="{75B94E7C-4D37-4831-8294-A4429D5C2348}"/>
              </a:ext>
            </a:extLst>
          </p:cNvPr>
          <p:cNvPicPr>
            <a:picLocks noChangeAspect="1" noChangeArrowheads="1"/>
          </p:cNvPicPr>
          <p:nvPr>
            <p:custDataLst>
              <p:tags r:id="rId1"/>
            </p:custDataLst>
          </p:nvPr>
        </p:nvPicPr>
        <p:blipFill>
          <a:blip r:embed="rId3" r:link="rId4">
            <a:extLst>
              <a:ext uri="{28A0092B-C50C-407E-A947-70E740481C1C}">
                <a14:useLocalDpi xmlns:a14="http://schemas.microsoft.com/office/drawing/2010/main" val="0"/>
              </a:ext>
            </a:extLst>
          </a:blip>
          <a:srcRect/>
          <a:stretch>
            <a:fillRect/>
          </a:stretch>
        </p:blipFill>
        <p:spPr bwMode="auto">
          <a:xfrm>
            <a:off x="7263940" y="4011772"/>
            <a:ext cx="4545200" cy="2198393"/>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ABB0B7F9-2CA9-410F-B16A-6DBBA62C910B}"/>
              </a:ext>
            </a:extLst>
          </p:cNvPr>
          <p:cNvSpPr/>
          <p:nvPr/>
        </p:nvSpPr>
        <p:spPr>
          <a:xfrm>
            <a:off x="9644804" y="6313680"/>
            <a:ext cx="4918845" cy="261610"/>
          </a:xfrm>
          <a:prstGeom prst="rect">
            <a:avLst/>
          </a:prstGeom>
        </p:spPr>
        <p:txBody>
          <a:bodyPr wrap="square">
            <a:spAutoFit/>
          </a:bodyPr>
          <a:lstStyle/>
          <a:p>
            <a:pPr fontAlgn="base"/>
            <a:r>
              <a:rPr lang="en-US" sz="1100" dirty="0"/>
              <a:t>Source: Travelweekly.com</a:t>
            </a:r>
            <a:endParaRPr lang="en-GB" sz="1100" dirty="0"/>
          </a:p>
        </p:txBody>
      </p:sp>
    </p:spTree>
    <p:extLst>
      <p:ext uri="{BB962C8B-B14F-4D97-AF65-F5344CB8AC3E}">
        <p14:creationId xmlns:p14="http://schemas.microsoft.com/office/powerpoint/2010/main" val="23333696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4BAC3D-ED0F-4405-83D6-881BBA8DABDC}"/>
              </a:ext>
            </a:extLst>
          </p:cNvPr>
          <p:cNvSpPr>
            <a:spLocks noGrp="1"/>
          </p:cNvSpPr>
          <p:nvPr>
            <p:ph type="title"/>
          </p:nvPr>
        </p:nvSpPr>
        <p:spPr/>
        <p:txBody>
          <a:bodyPr/>
          <a:lstStyle/>
          <a:p>
            <a:r>
              <a:rPr lang="en-GB" dirty="0"/>
              <a:t>To sum up</a:t>
            </a:r>
          </a:p>
        </p:txBody>
      </p:sp>
      <p:sp>
        <p:nvSpPr>
          <p:cNvPr id="3" name="Text Placeholder 2">
            <a:extLst>
              <a:ext uri="{FF2B5EF4-FFF2-40B4-BE49-F238E27FC236}">
                <a16:creationId xmlns:a16="http://schemas.microsoft.com/office/drawing/2014/main" id="{218740C3-570B-461E-B6A6-9269B32A6535}"/>
              </a:ext>
            </a:extLst>
          </p:cNvPr>
          <p:cNvSpPr>
            <a:spLocks noGrp="1"/>
          </p:cNvSpPr>
          <p:nvPr>
            <p:ph type="body"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156519CF-03B3-40D5-988D-93F8E7D1F71C}"/>
              </a:ext>
            </a:extLst>
          </p:cNvPr>
          <p:cNvSpPr>
            <a:spLocks noGrp="1"/>
          </p:cNvSpPr>
          <p:nvPr>
            <p:ph type="sldNum" sz="quarter" idx="15"/>
          </p:nvPr>
        </p:nvSpPr>
        <p:spPr/>
        <p:txBody>
          <a:bodyPr/>
          <a:lstStyle/>
          <a:p>
            <a:fld id="{3787542D-5C6B-4EB3-96EB-9B37C3D5D2F8}" type="slidenum">
              <a:rPr lang="en-GB" smtClean="0"/>
              <a:t>11</a:t>
            </a:fld>
            <a:endParaRPr lang="en-GB" dirty="0"/>
          </a:p>
        </p:txBody>
      </p:sp>
      <p:sp>
        <p:nvSpPr>
          <p:cNvPr id="6" name="Arc 5">
            <a:extLst>
              <a:ext uri="{FF2B5EF4-FFF2-40B4-BE49-F238E27FC236}">
                <a16:creationId xmlns:a16="http://schemas.microsoft.com/office/drawing/2014/main" id="{D88A98C8-1304-4BEA-98F3-1C99C94682F2}"/>
              </a:ext>
            </a:extLst>
          </p:cNvPr>
          <p:cNvSpPr>
            <a:spLocks noChangeAspect="1"/>
          </p:cNvSpPr>
          <p:nvPr/>
        </p:nvSpPr>
        <p:spPr>
          <a:xfrm rot="10800000">
            <a:off x="704712" y="2260066"/>
            <a:ext cx="2156107" cy="2156107"/>
          </a:xfrm>
          <a:prstGeom prst="arc">
            <a:avLst>
              <a:gd name="adj1" fmla="val 10800000"/>
              <a:gd name="adj2" fmla="val 0"/>
            </a:avLst>
          </a:prstGeom>
          <a:ln w="762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Arc 6">
            <a:extLst>
              <a:ext uri="{FF2B5EF4-FFF2-40B4-BE49-F238E27FC236}">
                <a16:creationId xmlns:a16="http://schemas.microsoft.com/office/drawing/2014/main" id="{24B1E2A0-505A-4188-914D-C40D7198484C}"/>
              </a:ext>
            </a:extLst>
          </p:cNvPr>
          <p:cNvSpPr>
            <a:spLocks noChangeAspect="1"/>
          </p:cNvSpPr>
          <p:nvPr/>
        </p:nvSpPr>
        <p:spPr>
          <a:xfrm>
            <a:off x="2861075" y="2260068"/>
            <a:ext cx="2156107" cy="2156107"/>
          </a:xfrm>
          <a:prstGeom prst="arc">
            <a:avLst>
              <a:gd name="adj1" fmla="val 10800000"/>
              <a:gd name="adj2" fmla="val 0"/>
            </a:avLst>
          </a:prstGeom>
          <a:ln w="762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Arc 7">
            <a:extLst>
              <a:ext uri="{FF2B5EF4-FFF2-40B4-BE49-F238E27FC236}">
                <a16:creationId xmlns:a16="http://schemas.microsoft.com/office/drawing/2014/main" id="{E19F574F-30BA-4109-A257-28235F78F840}"/>
              </a:ext>
            </a:extLst>
          </p:cNvPr>
          <p:cNvSpPr>
            <a:spLocks noChangeAspect="1"/>
          </p:cNvSpPr>
          <p:nvPr/>
        </p:nvSpPr>
        <p:spPr>
          <a:xfrm rot="10800000">
            <a:off x="5017438" y="2260068"/>
            <a:ext cx="2156107" cy="2156107"/>
          </a:xfrm>
          <a:prstGeom prst="arc">
            <a:avLst>
              <a:gd name="adj1" fmla="val 10800000"/>
              <a:gd name="adj2" fmla="val 0"/>
            </a:avLst>
          </a:prstGeom>
          <a:ln w="762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9" name="Arc 8">
            <a:extLst>
              <a:ext uri="{FF2B5EF4-FFF2-40B4-BE49-F238E27FC236}">
                <a16:creationId xmlns:a16="http://schemas.microsoft.com/office/drawing/2014/main" id="{1BF7A013-8EC9-4494-8AC5-6B77A7759C46}"/>
              </a:ext>
            </a:extLst>
          </p:cNvPr>
          <p:cNvSpPr>
            <a:spLocks noChangeAspect="1"/>
          </p:cNvSpPr>
          <p:nvPr/>
        </p:nvSpPr>
        <p:spPr>
          <a:xfrm>
            <a:off x="7173799" y="2260071"/>
            <a:ext cx="2156107" cy="2156107"/>
          </a:xfrm>
          <a:prstGeom prst="arc">
            <a:avLst>
              <a:gd name="adj1" fmla="val 10800000"/>
              <a:gd name="adj2" fmla="val 0"/>
            </a:avLst>
          </a:prstGeom>
          <a:ln w="762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Arc 9">
            <a:extLst>
              <a:ext uri="{FF2B5EF4-FFF2-40B4-BE49-F238E27FC236}">
                <a16:creationId xmlns:a16="http://schemas.microsoft.com/office/drawing/2014/main" id="{0C85220B-9DD2-4934-A321-9117B68F20D5}"/>
              </a:ext>
            </a:extLst>
          </p:cNvPr>
          <p:cNvSpPr>
            <a:spLocks noChangeAspect="1"/>
          </p:cNvSpPr>
          <p:nvPr/>
        </p:nvSpPr>
        <p:spPr>
          <a:xfrm rot="10800000">
            <a:off x="9330162" y="2260071"/>
            <a:ext cx="2156107" cy="2156107"/>
          </a:xfrm>
          <a:prstGeom prst="arc">
            <a:avLst>
              <a:gd name="adj1" fmla="val 10800000"/>
              <a:gd name="adj2" fmla="val 0"/>
            </a:avLst>
          </a:prstGeom>
          <a:ln w="762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Arc 10">
            <a:extLst>
              <a:ext uri="{FF2B5EF4-FFF2-40B4-BE49-F238E27FC236}">
                <a16:creationId xmlns:a16="http://schemas.microsoft.com/office/drawing/2014/main" id="{EF993102-EACE-479E-A028-76BE0CA6EEFF}"/>
              </a:ext>
            </a:extLst>
          </p:cNvPr>
          <p:cNvSpPr>
            <a:spLocks noChangeAspect="1"/>
          </p:cNvSpPr>
          <p:nvPr/>
        </p:nvSpPr>
        <p:spPr>
          <a:xfrm>
            <a:off x="704712" y="2260067"/>
            <a:ext cx="2156105" cy="2156106"/>
          </a:xfrm>
          <a:prstGeom prst="arc">
            <a:avLst>
              <a:gd name="adj1" fmla="val 10800000"/>
              <a:gd name="adj2" fmla="val 0"/>
            </a:avLst>
          </a:prstGeom>
          <a:ln w="762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Arc 11">
            <a:extLst>
              <a:ext uri="{FF2B5EF4-FFF2-40B4-BE49-F238E27FC236}">
                <a16:creationId xmlns:a16="http://schemas.microsoft.com/office/drawing/2014/main" id="{E5A3AC73-1D81-496B-AD06-8064AA29A0B1}"/>
              </a:ext>
            </a:extLst>
          </p:cNvPr>
          <p:cNvSpPr>
            <a:spLocks noChangeAspect="1"/>
          </p:cNvSpPr>
          <p:nvPr/>
        </p:nvSpPr>
        <p:spPr>
          <a:xfrm rot="10800000">
            <a:off x="2861075" y="2260067"/>
            <a:ext cx="2156107" cy="2156107"/>
          </a:xfrm>
          <a:prstGeom prst="arc">
            <a:avLst>
              <a:gd name="adj1" fmla="val 10800000"/>
              <a:gd name="adj2" fmla="val 0"/>
            </a:avLst>
          </a:prstGeom>
          <a:ln w="762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 name="Arc 12">
            <a:extLst>
              <a:ext uri="{FF2B5EF4-FFF2-40B4-BE49-F238E27FC236}">
                <a16:creationId xmlns:a16="http://schemas.microsoft.com/office/drawing/2014/main" id="{4E9C2AD3-721F-409B-9DCC-EA742D6D47E2}"/>
              </a:ext>
            </a:extLst>
          </p:cNvPr>
          <p:cNvSpPr>
            <a:spLocks noChangeAspect="1"/>
          </p:cNvSpPr>
          <p:nvPr/>
        </p:nvSpPr>
        <p:spPr>
          <a:xfrm>
            <a:off x="5017438" y="2260070"/>
            <a:ext cx="2156107" cy="2156107"/>
          </a:xfrm>
          <a:prstGeom prst="arc">
            <a:avLst>
              <a:gd name="adj1" fmla="val 10800000"/>
              <a:gd name="adj2" fmla="val 0"/>
            </a:avLst>
          </a:prstGeom>
          <a:ln w="762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 name="Arc 13">
            <a:extLst>
              <a:ext uri="{FF2B5EF4-FFF2-40B4-BE49-F238E27FC236}">
                <a16:creationId xmlns:a16="http://schemas.microsoft.com/office/drawing/2014/main" id="{D448A9CA-F57D-452D-84FB-96F9CA62B6D0}"/>
              </a:ext>
            </a:extLst>
          </p:cNvPr>
          <p:cNvSpPr>
            <a:spLocks noChangeAspect="1"/>
          </p:cNvSpPr>
          <p:nvPr/>
        </p:nvSpPr>
        <p:spPr>
          <a:xfrm rot="10800000">
            <a:off x="7173799" y="2260070"/>
            <a:ext cx="2156107" cy="2156107"/>
          </a:xfrm>
          <a:prstGeom prst="arc">
            <a:avLst>
              <a:gd name="adj1" fmla="val 10800000"/>
              <a:gd name="adj2" fmla="val 0"/>
            </a:avLst>
          </a:prstGeom>
          <a:ln w="762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 name="Arc 14">
            <a:extLst>
              <a:ext uri="{FF2B5EF4-FFF2-40B4-BE49-F238E27FC236}">
                <a16:creationId xmlns:a16="http://schemas.microsoft.com/office/drawing/2014/main" id="{DF92DAA0-35ED-4574-A9DE-71FC0EE8DCD7}"/>
              </a:ext>
            </a:extLst>
          </p:cNvPr>
          <p:cNvSpPr>
            <a:spLocks noChangeAspect="1"/>
          </p:cNvSpPr>
          <p:nvPr/>
        </p:nvSpPr>
        <p:spPr>
          <a:xfrm>
            <a:off x="9330162" y="2260073"/>
            <a:ext cx="2156107" cy="2156107"/>
          </a:xfrm>
          <a:prstGeom prst="arc">
            <a:avLst>
              <a:gd name="adj1" fmla="val 10800000"/>
              <a:gd name="adj2" fmla="val 0"/>
            </a:avLst>
          </a:prstGeom>
          <a:ln w="762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3E9020BD-D020-4A78-9DBD-21C7AB1EEEA6}"/>
              </a:ext>
            </a:extLst>
          </p:cNvPr>
          <p:cNvSpPr txBox="1"/>
          <p:nvPr/>
        </p:nvSpPr>
        <p:spPr>
          <a:xfrm>
            <a:off x="704712" y="4568751"/>
            <a:ext cx="2156109" cy="923330"/>
          </a:xfrm>
          <a:prstGeom prst="rect">
            <a:avLst/>
          </a:prstGeom>
          <a:noFill/>
        </p:spPr>
        <p:txBody>
          <a:bodyPr wrap="square" rtlCol="0">
            <a:spAutoFit/>
          </a:bodyPr>
          <a:lstStyle/>
          <a:p>
            <a:pPr lvl="0" algn="ctr" defTabSz="914400">
              <a:defRPr/>
            </a:pPr>
            <a:r>
              <a:rPr lang="en-GB" dirty="0"/>
              <a:t>Creating a frictionless way to drive people online</a:t>
            </a:r>
            <a:endParaRPr kumimoji="0" lang="en-GB" sz="1600" b="0" i="0" u="none" strike="noStrike" kern="1200" cap="none" spc="0" normalizeH="0" baseline="0" noProof="0" dirty="0">
              <a:ln>
                <a:noFill/>
              </a:ln>
              <a:effectLst/>
              <a:uLnTx/>
              <a:uFillTx/>
              <a:cs typeface="Arial" panose="020B0604020202020204" pitchFamily="34" charset="0"/>
            </a:endParaRPr>
          </a:p>
        </p:txBody>
      </p:sp>
      <p:sp>
        <p:nvSpPr>
          <p:cNvPr id="17" name="TextBox 16">
            <a:extLst>
              <a:ext uri="{FF2B5EF4-FFF2-40B4-BE49-F238E27FC236}">
                <a16:creationId xmlns:a16="http://schemas.microsoft.com/office/drawing/2014/main" id="{05568D78-7D92-4858-BEE4-67BF30EDD52D}"/>
              </a:ext>
            </a:extLst>
          </p:cNvPr>
          <p:cNvSpPr txBox="1"/>
          <p:nvPr/>
        </p:nvSpPr>
        <p:spPr>
          <a:xfrm>
            <a:off x="7174563" y="4568751"/>
            <a:ext cx="2156109" cy="1200329"/>
          </a:xfrm>
          <a:prstGeom prst="rect">
            <a:avLst/>
          </a:prstGeom>
          <a:noFill/>
        </p:spPr>
        <p:txBody>
          <a:bodyPr wrap="square" rtlCol="0">
            <a:spAutoFit/>
          </a:bodyPr>
          <a:lstStyle/>
          <a:p>
            <a:pPr lvl="0" algn="ctr" defTabSz="914400">
              <a:defRPr/>
            </a:pPr>
            <a:r>
              <a:rPr lang="en-GB" dirty="0"/>
              <a:t>Getting consumers to be entertained and truly immersed in your brand story</a:t>
            </a:r>
            <a:endParaRPr lang="en-GB" sz="1600" dirty="0">
              <a:cs typeface="Arial" panose="020B0604020202020204" pitchFamily="34" charset="0"/>
            </a:endParaRPr>
          </a:p>
        </p:txBody>
      </p:sp>
      <p:sp>
        <p:nvSpPr>
          <p:cNvPr id="18" name="TextBox 17">
            <a:extLst>
              <a:ext uri="{FF2B5EF4-FFF2-40B4-BE49-F238E27FC236}">
                <a16:creationId xmlns:a16="http://schemas.microsoft.com/office/drawing/2014/main" id="{73DF5854-8083-4E2B-8F64-7B22D053B9A4}"/>
              </a:ext>
            </a:extLst>
          </p:cNvPr>
          <p:cNvSpPr txBox="1"/>
          <p:nvPr/>
        </p:nvSpPr>
        <p:spPr>
          <a:xfrm>
            <a:off x="9331178" y="4568751"/>
            <a:ext cx="2156109" cy="1200329"/>
          </a:xfrm>
          <a:prstGeom prst="rect">
            <a:avLst/>
          </a:prstGeom>
          <a:noFill/>
        </p:spPr>
        <p:txBody>
          <a:bodyPr wrap="square" rtlCol="0">
            <a:spAutoFit/>
          </a:bodyPr>
          <a:lstStyle/>
          <a:p>
            <a:pPr lvl="0" algn="ctr" defTabSz="914400">
              <a:defRPr/>
            </a:pPr>
            <a:r>
              <a:rPr lang="en-GB" dirty="0"/>
              <a:t>Giving consumers a memorable and deeper brand experience</a:t>
            </a:r>
            <a:endParaRPr lang="en-GB" sz="1600" dirty="0">
              <a:cs typeface="Arial" panose="020B0604020202020204" pitchFamily="34" charset="0"/>
            </a:endParaRPr>
          </a:p>
        </p:txBody>
      </p:sp>
      <p:sp>
        <p:nvSpPr>
          <p:cNvPr id="19" name="TextBox 18">
            <a:extLst>
              <a:ext uri="{FF2B5EF4-FFF2-40B4-BE49-F238E27FC236}">
                <a16:creationId xmlns:a16="http://schemas.microsoft.com/office/drawing/2014/main" id="{D281A621-8A0B-4B92-B142-C424A9967EBB}"/>
              </a:ext>
            </a:extLst>
          </p:cNvPr>
          <p:cNvSpPr txBox="1"/>
          <p:nvPr/>
        </p:nvSpPr>
        <p:spPr>
          <a:xfrm>
            <a:off x="1046440" y="3662429"/>
            <a:ext cx="147264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b="1" dirty="0">
                <a:cs typeface="Arial" panose="020B0604020202020204" pitchFamily="34" charset="0"/>
              </a:rPr>
              <a:t>Offline to online</a:t>
            </a:r>
            <a:endParaRPr kumimoji="0" lang="en-GB" b="1" i="0" u="none" strike="noStrike" kern="1200" cap="none" spc="0" normalizeH="0" baseline="0" noProof="0" dirty="0">
              <a:ln>
                <a:noFill/>
              </a:ln>
              <a:effectLst/>
              <a:uLnTx/>
              <a:uFillTx/>
              <a:cs typeface="Arial" panose="020B0604020202020204" pitchFamily="34" charset="0"/>
            </a:endParaRPr>
          </a:p>
        </p:txBody>
      </p:sp>
      <p:sp>
        <p:nvSpPr>
          <p:cNvPr id="20" name="TextBox 19">
            <a:extLst>
              <a:ext uri="{FF2B5EF4-FFF2-40B4-BE49-F238E27FC236}">
                <a16:creationId xmlns:a16="http://schemas.microsoft.com/office/drawing/2014/main" id="{DCED1BDE-4C09-4F10-8C50-68C15182E8DE}"/>
              </a:ext>
            </a:extLst>
          </p:cNvPr>
          <p:cNvSpPr txBox="1"/>
          <p:nvPr/>
        </p:nvSpPr>
        <p:spPr>
          <a:xfrm>
            <a:off x="5182024" y="3662429"/>
            <a:ext cx="181514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b="1" dirty="0">
                <a:cs typeface="Arial" panose="020B0604020202020204" pitchFamily="34" charset="0"/>
              </a:rPr>
              <a:t>Attribution accuracy</a:t>
            </a:r>
            <a:endParaRPr kumimoji="0" lang="en-GB" b="1" i="0" u="none" strike="noStrike" kern="1200" cap="none" spc="0" normalizeH="0" baseline="0" noProof="0" dirty="0">
              <a:ln>
                <a:noFill/>
              </a:ln>
              <a:effectLst/>
              <a:uLnTx/>
              <a:uFillTx/>
              <a:cs typeface="Arial" panose="020B0604020202020204" pitchFamily="34" charset="0"/>
            </a:endParaRPr>
          </a:p>
        </p:txBody>
      </p:sp>
      <p:sp>
        <p:nvSpPr>
          <p:cNvPr id="21" name="TextBox 20">
            <a:extLst>
              <a:ext uri="{FF2B5EF4-FFF2-40B4-BE49-F238E27FC236}">
                <a16:creationId xmlns:a16="http://schemas.microsoft.com/office/drawing/2014/main" id="{10E60C33-C945-4000-89BA-9E4BDC66F32B}"/>
              </a:ext>
            </a:extLst>
          </p:cNvPr>
          <p:cNvSpPr txBox="1"/>
          <p:nvPr/>
        </p:nvSpPr>
        <p:spPr>
          <a:xfrm>
            <a:off x="3128912" y="3662429"/>
            <a:ext cx="161991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b="1" dirty="0">
                <a:cs typeface="Arial" panose="020B0604020202020204" pitchFamily="34" charset="0"/>
              </a:rPr>
              <a:t>Mail response</a:t>
            </a:r>
            <a:endParaRPr kumimoji="0" lang="en-GB" b="1" i="0" u="none" strike="noStrike" kern="1200" cap="none" spc="0" normalizeH="0" baseline="0" noProof="0" dirty="0">
              <a:ln>
                <a:noFill/>
              </a:ln>
              <a:effectLst/>
              <a:uLnTx/>
              <a:uFillTx/>
              <a:cs typeface="Arial" panose="020B0604020202020204" pitchFamily="34" charset="0"/>
            </a:endParaRPr>
          </a:p>
        </p:txBody>
      </p:sp>
      <p:sp>
        <p:nvSpPr>
          <p:cNvPr id="22" name="TextBox 21">
            <a:extLst>
              <a:ext uri="{FF2B5EF4-FFF2-40B4-BE49-F238E27FC236}">
                <a16:creationId xmlns:a16="http://schemas.microsoft.com/office/drawing/2014/main" id="{0876BF1C-85E5-4BD8-9548-1EB8767F4869}"/>
              </a:ext>
            </a:extLst>
          </p:cNvPr>
          <p:cNvSpPr txBox="1"/>
          <p:nvPr/>
        </p:nvSpPr>
        <p:spPr>
          <a:xfrm>
            <a:off x="7271033" y="3662429"/>
            <a:ext cx="196009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b="1" noProof="0" dirty="0">
                <a:cs typeface="Arial" panose="020B0604020202020204" pitchFamily="34" charset="0"/>
              </a:rPr>
              <a:t>Engaging &amp; immersive</a:t>
            </a:r>
            <a:endParaRPr kumimoji="0" lang="en-GB" b="1" i="0" u="none" strike="noStrike" kern="1200" cap="none" spc="0" normalizeH="0" baseline="0" noProof="0" dirty="0">
              <a:ln>
                <a:noFill/>
              </a:ln>
              <a:effectLst/>
              <a:uLnTx/>
              <a:uFillTx/>
              <a:cs typeface="Arial" panose="020B0604020202020204" pitchFamily="34" charset="0"/>
            </a:endParaRPr>
          </a:p>
        </p:txBody>
      </p:sp>
      <p:sp>
        <p:nvSpPr>
          <p:cNvPr id="23" name="TextBox 22">
            <a:extLst>
              <a:ext uri="{FF2B5EF4-FFF2-40B4-BE49-F238E27FC236}">
                <a16:creationId xmlns:a16="http://schemas.microsoft.com/office/drawing/2014/main" id="{3F29AD7F-0B5E-49F7-B849-C1608968589E}"/>
              </a:ext>
            </a:extLst>
          </p:cNvPr>
          <p:cNvSpPr txBox="1"/>
          <p:nvPr/>
        </p:nvSpPr>
        <p:spPr>
          <a:xfrm>
            <a:off x="9622630" y="3598768"/>
            <a:ext cx="1619914"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effectLst/>
                <a:uLnTx/>
                <a:uFillTx/>
                <a:cs typeface="Arial" panose="020B0604020202020204" pitchFamily="34" charset="0"/>
              </a:rPr>
              <a:t>Brand experience</a:t>
            </a:r>
          </a:p>
        </p:txBody>
      </p:sp>
      <p:sp>
        <p:nvSpPr>
          <p:cNvPr id="24" name="TextBox 23">
            <a:extLst>
              <a:ext uri="{FF2B5EF4-FFF2-40B4-BE49-F238E27FC236}">
                <a16:creationId xmlns:a16="http://schemas.microsoft.com/office/drawing/2014/main" id="{C3ECEAA1-4C5A-4318-B8C7-FC59C8624051}"/>
              </a:ext>
            </a:extLst>
          </p:cNvPr>
          <p:cNvSpPr txBox="1"/>
          <p:nvPr/>
        </p:nvSpPr>
        <p:spPr>
          <a:xfrm>
            <a:off x="1116128" y="2283297"/>
            <a:ext cx="133877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effectLst/>
                <a:uLnTx/>
                <a:uFillTx/>
                <a:cs typeface="Arial" panose="020B0604020202020204" pitchFamily="34" charset="0"/>
              </a:rPr>
              <a:t>1</a:t>
            </a:r>
          </a:p>
        </p:txBody>
      </p:sp>
      <p:sp>
        <p:nvSpPr>
          <p:cNvPr id="25" name="TextBox 24">
            <a:extLst>
              <a:ext uri="{FF2B5EF4-FFF2-40B4-BE49-F238E27FC236}">
                <a16:creationId xmlns:a16="http://schemas.microsoft.com/office/drawing/2014/main" id="{4EF2E5B0-C232-4436-B61B-D1F40F3C206A}"/>
              </a:ext>
            </a:extLst>
          </p:cNvPr>
          <p:cNvSpPr txBox="1"/>
          <p:nvPr/>
        </p:nvSpPr>
        <p:spPr>
          <a:xfrm>
            <a:off x="3272233" y="2283297"/>
            <a:ext cx="133877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effectLst/>
                <a:uLnTx/>
                <a:uFillTx/>
                <a:cs typeface="Arial" panose="020B0604020202020204" pitchFamily="34" charset="0"/>
              </a:rPr>
              <a:t>2</a:t>
            </a:r>
          </a:p>
        </p:txBody>
      </p:sp>
      <p:sp>
        <p:nvSpPr>
          <p:cNvPr id="26" name="TextBox 25">
            <a:extLst>
              <a:ext uri="{FF2B5EF4-FFF2-40B4-BE49-F238E27FC236}">
                <a16:creationId xmlns:a16="http://schemas.microsoft.com/office/drawing/2014/main" id="{274533D0-F9F8-46A9-882F-F4C6C02E9A59}"/>
              </a:ext>
            </a:extLst>
          </p:cNvPr>
          <p:cNvSpPr txBox="1"/>
          <p:nvPr/>
        </p:nvSpPr>
        <p:spPr>
          <a:xfrm>
            <a:off x="5428339" y="2283297"/>
            <a:ext cx="133877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effectLst/>
                <a:uLnTx/>
                <a:uFillTx/>
                <a:cs typeface="Arial" panose="020B0604020202020204" pitchFamily="34" charset="0"/>
              </a:rPr>
              <a:t>3</a:t>
            </a:r>
          </a:p>
        </p:txBody>
      </p:sp>
      <p:sp>
        <p:nvSpPr>
          <p:cNvPr id="27" name="TextBox 26">
            <a:extLst>
              <a:ext uri="{FF2B5EF4-FFF2-40B4-BE49-F238E27FC236}">
                <a16:creationId xmlns:a16="http://schemas.microsoft.com/office/drawing/2014/main" id="{E3786049-5370-49F3-A10D-0AEB2E3F20D6}"/>
              </a:ext>
            </a:extLst>
          </p:cNvPr>
          <p:cNvSpPr txBox="1"/>
          <p:nvPr/>
        </p:nvSpPr>
        <p:spPr>
          <a:xfrm>
            <a:off x="7584444" y="2283297"/>
            <a:ext cx="133877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effectLst/>
                <a:uLnTx/>
                <a:uFillTx/>
                <a:cs typeface="Arial" panose="020B0604020202020204" pitchFamily="34" charset="0"/>
              </a:rPr>
              <a:t>4</a:t>
            </a:r>
          </a:p>
        </p:txBody>
      </p:sp>
      <p:sp>
        <p:nvSpPr>
          <p:cNvPr id="28" name="TextBox 27">
            <a:extLst>
              <a:ext uri="{FF2B5EF4-FFF2-40B4-BE49-F238E27FC236}">
                <a16:creationId xmlns:a16="http://schemas.microsoft.com/office/drawing/2014/main" id="{D4D39CF9-6274-4428-B535-A7FB5C67D6CB}"/>
              </a:ext>
            </a:extLst>
          </p:cNvPr>
          <p:cNvSpPr txBox="1"/>
          <p:nvPr/>
        </p:nvSpPr>
        <p:spPr>
          <a:xfrm>
            <a:off x="9740550" y="2283297"/>
            <a:ext cx="133877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effectLst/>
                <a:uLnTx/>
                <a:uFillTx/>
                <a:cs typeface="Arial" panose="020B0604020202020204" pitchFamily="34" charset="0"/>
              </a:rPr>
              <a:t>5</a:t>
            </a:r>
          </a:p>
        </p:txBody>
      </p:sp>
      <p:sp>
        <p:nvSpPr>
          <p:cNvPr id="40" name="TextBox 39">
            <a:extLst>
              <a:ext uri="{FF2B5EF4-FFF2-40B4-BE49-F238E27FC236}">
                <a16:creationId xmlns:a16="http://schemas.microsoft.com/office/drawing/2014/main" id="{28120E86-57AB-48F0-A516-4EF4442E7BE8}"/>
              </a:ext>
            </a:extLst>
          </p:cNvPr>
          <p:cNvSpPr txBox="1"/>
          <p:nvPr/>
        </p:nvSpPr>
        <p:spPr>
          <a:xfrm>
            <a:off x="2861329" y="4568751"/>
            <a:ext cx="2156109" cy="1200329"/>
          </a:xfrm>
          <a:prstGeom prst="rect">
            <a:avLst/>
          </a:prstGeom>
          <a:noFill/>
        </p:spPr>
        <p:txBody>
          <a:bodyPr wrap="square" rtlCol="0">
            <a:spAutoFit/>
          </a:bodyPr>
          <a:lstStyle/>
          <a:p>
            <a:pPr lvl="0" algn="ctr" defTabSz="914400">
              <a:defRPr/>
            </a:pPr>
            <a:r>
              <a:rPr lang="en-GB" dirty="0">
                <a:cs typeface="Arial" panose="020B0604020202020204" pitchFamily="34" charset="0"/>
              </a:rPr>
              <a:t>Driving higher response rates as you’ve removed a barrier</a:t>
            </a:r>
          </a:p>
        </p:txBody>
      </p:sp>
      <p:sp>
        <p:nvSpPr>
          <p:cNvPr id="42" name="TextBox 41">
            <a:extLst>
              <a:ext uri="{FF2B5EF4-FFF2-40B4-BE49-F238E27FC236}">
                <a16:creationId xmlns:a16="http://schemas.microsoft.com/office/drawing/2014/main" id="{4BA912B8-3D67-4C28-ABFD-5E94D9F9D4CF}"/>
              </a:ext>
            </a:extLst>
          </p:cNvPr>
          <p:cNvSpPr txBox="1"/>
          <p:nvPr/>
        </p:nvSpPr>
        <p:spPr>
          <a:xfrm>
            <a:off x="5029819" y="4588947"/>
            <a:ext cx="2156109" cy="1200329"/>
          </a:xfrm>
          <a:prstGeom prst="rect">
            <a:avLst/>
          </a:prstGeom>
          <a:noFill/>
        </p:spPr>
        <p:txBody>
          <a:bodyPr wrap="square" rtlCol="0">
            <a:spAutoFit/>
          </a:bodyPr>
          <a:lstStyle/>
          <a:p>
            <a:pPr lvl="0" algn="ctr" defTabSz="914400">
              <a:defRPr/>
            </a:pPr>
            <a:r>
              <a:rPr lang="en-GB" dirty="0"/>
              <a:t>Helping you to gain greater accuracy on where your responses are from</a:t>
            </a:r>
            <a:endParaRPr lang="en-GB" sz="1600" dirty="0">
              <a:cs typeface="Arial" panose="020B0604020202020204" pitchFamily="34" charset="0"/>
            </a:endParaRPr>
          </a:p>
        </p:txBody>
      </p:sp>
      <p:sp>
        <p:nvSpPr>
          <p:cNvPr id="35" name="Analytics11" descr="{&quot;Key&quot;:&quot;POWER_USER_SHAPE_ICON&quot;,&quot;Value&quot;:&quot;POWER_USER_SHAPE_ICON_STYLE_1&quot;}">
            <a:extLst>
              <a:ext uri="{FF2B5EF4-FFF2-40B4-BE49-F238E27FC236}">
                <a16:creationId xmlns:a16="http://schemas.microsoft.com/office/drawing/2014/main" id="{7168A1E5-D33B-4CC3-B204-2FF1365A985B}"/>
              </a:ext>
            </a:extLst>
          </p:cNvPr>
          <p:cNvSpPr>
            <a:spLocks noChangeAspect="1" noEditPoints="1"/>
          </p:cNvSpPr>
          <p:nvPr>
            <p:custDataLst>
              <p:tags r:id="rId1"/>
            </p:custDataLst>
          </p:nvPr>
        </p:nvSpPr>
        <p:spPr bwMode="auto">
          <a:xfrm>
            <a:off x="3654806" y="2727261"/>
            <a:ext cx="561690" cy="542925"/>
          </a:xfrm>
          <a:custGeom>
            <a:avLst/>
            <a:gdLst>
              <a:gd name="T0" fmla="*/ 4300 w 4300"/>
              <a:gd name="T1" fmla="*/ 2342 h 4153"/>
              <a:gd name="T2" fmla="*/ 4193 w 4300"/>
              <a:gd name="T3" fmla="*/ 4153 h 4153"/>
              <a:gd name="T4" fmla="*/ 3375 w 4300"/>
              <a:gd name="T5" fmla="*/ 4046 h 4153"/>
              <a:gd name="T6" fmla="*/ 1232 w 4300"/>
              <a:gd name="T7" fmla="*/ 1492 h 4153"/>
              <a:gd name="T8" fmla="*/ 2050 w 4300"/>
              <a:gd name="T9" fmla="*/ 4046 h 4153"/>
              <a:gd name="T10" fmla="*/ 1156 w 4300"/>
              <a:gd name="T11" fmla="*/ 4122 h 4153"/>
              <a:gd name="T12" fmla="*/ 1232 w 4300"/>
              <a:gd name="T13" fmla="*/ 1492 h 4153"/>
              <a:gd name="T14" fmla="*/ 1174 w 4300"/>
              <a:gd name="T15" fmla="*/ 413 h 4153"/>
              <a:gd name="T16" fmla="*/ 1587 w 4300"/>
              <a:gd name="T17" fmla="*/ 0 h 4153"/>
              <a:gd name="T18" fmla="*/ 2001 w 4300"/>
              <a:gd name="T19" fmla="*/ 413 h 4153"/>
              <a:gd name="T20" fmla="*/ 2603 w 4300"/>
              <a:gd name="T21" fmla="*/ 1228 h 4153"/>
              <a:gd name="T22" fmla="*/ 3029 w 4300"/>
              <a:gd name="T23" fmla="*/ 1360 h 4153"/>
              <a:gd name="T24" fmla="*/ 3389 w 4300"/>
              <a:gd name="T25" fmla="*/ 1159 h 4153"/>
              <a:gd name="T26" fmla="*/ 3803 w 4300"/>
              <a:gd name="T27" fmla="*/ 745 h 4153"/>
              <a:gd name="T28" fmla="*/ 4217 w 4300"/>
              <a:gd name="T29" fmla="*/ 1159 h 4153"/>
              <a:gd name="T30" fmla="*/ 3803 w 4300"/>
              <a:gd name="T31" fmla="*/ 1573 h 4153"/>
              <a:gd name="T32" fmla="*/ 3121 w 4300"/>
              <a:gd name="T33" fmla="*/ 1560 h 4153"/>
              <a:gd name="T34" fmla="*/ 3005 w 4300"/>
              <a:gd name="T35" fmla="*/ 1919 h 4153"/>
              <a:gd name="T36" fmla="*/ 2420 w 4300"/>
              <a:gd name="T37" fmla="*/ 1919 h 4153"/>
              <a:gd name="T38" fmla="*/ 2366 w 4300"/>
              <a:gd name="T39" fmla="*/ 1400 h 4153"/>
              <a:gd name="T40" fmla="*/ 1441 w 4300"/>
              <a:gd name="T41" fmla="*/ 800 h 4153"/>
              <a:gd name="T42" fmla="*/ 876 w 4300"/>
              <a:gd name="T43" fmla="*/ 1243 h 4153"/>
              <a:gd name="T44" fmla="*/ 462 w 4300"/>
              <a:gd name="T45" fmla="*/ 1656 h 4153"/>
              <a:gd name="T46" fmla="*/ 49 w 4300"/>
              <a:gd name="T47" fmla="*/ 1243 h 4153"/>
              <a:gd name="T48" fmla="*/ 462 w 4300"/>
              <a:gd name="T49" fmla="*/ 829 h 4153"/>
              <a:gd name="T50" fmla="*/ 3885 w 4300"/>
              <a:gd name="T51" fmla="*/ 961 h 4153"/>
              <a:gd name="T52" fmla="*/ 3606 w 4300"/>
              <a:gd name="T53" fmla="*/ 1077 h 4153"/>
              <a:gd name="T54" fmla="*/ 3721 w 4300"/>
              <a:gd name="T55" fmla="*/ 1356 h 4153"/>
              <a:gd name="T56" fmla="*/ 4001 w 4300"/>
              <a:gd name="T57" fmla="*/ 1241 h 4153"/>
              <a:gd name="T58" fmla="*/ 2863 w 4300"/>
              <a:gd name="T59" fmla="*/ 1476 h 4153"/>
              <a:gd name="T60" fmla="*/ 2561 w 4300"/>
              <a:gd name="T61" fmla="*/ 1476 h 4153"/>
              <a:gd name="T62" fmla="*/ 2561 w 4300"/>
              <a:gd name="T63" fmla="*/ 1778 h 4153"/>
              <a:gd name="T64" fmla="*/ 2863 w 4300"/>
              <a:gd name="T65" fmla="*/ 1778 h 4153"/>
              <a:gd name="T66" fmla="*/ 2863 w 4300"/>
              <a:gd name="T67" fmla="*/ 1476 h 4153"/>
              <a:gd name="T68" fmla="*/ 1506 w 4300"/>
              <a:gd name="T69" fmla="*/ 216 h 4153"/>
              <a:gd name="T70" fmla="*/ 1390 w 4300"/>
              <a:gd name="T71" fmla="*/ 495 h 4153"/>
              <a:gd name="T72" fmla="*/ 1669 w 4300"/>
              <a:gd name="T73" fmla="*/ 611 h 4153"/>
              <a:gd name="T74" fmla="*/ 1785 w 4300"/>
              <a:gd name="T75" fmla="*/ 332 h 4153"/>
              <a:gd name="T76" fmla="*/ 462 w 4300"/>
              <a:gd name="T77" fmla="*/ 1029 h 4153"/>
              <a:gd name="T78" fmla="*/ 249 w 4300"/>
              <a:gd name="T79" fmla="*/ 1243 h 4153"/>
              <a:gd name="T80" fmla="*/ 462 w 4300"/>
              <a:gd name="T81" fmla="*/ 1456 h 4153"/>
              <a:gd name="T82" fmla="*/ 676 w 4300"/>
              <a:gd name="T83" fmla="*/ 1243 h 4153"/>
              <a:gd name="T84" fmla="*/ 818 w 4300"/>
              <a:gd name="T85" fmla="*/ 2320 h 4153"/>
              <a:gd name="T86" fmla="*/ 893 w 4300"/>
              <a:gd name="T87" fmla="*/ 4122 h 4153"/>
              <a:gd name="T88" fmla="*/ 0 w 4300"/>
              <a:gd name="T89" fmla="*/ 4046 h 4153"/>
              <a:gd name="T90" fmla="*/ 2357 w 4300"/>
              <a:gd name="T91" fmla="*/ 2737 h 4153"/>
              <a:gd name="T92" fmla="*/ 3175 w 4300"/>
              <a:gd name="T93" fmla="*/ 4046 h 4153"/>
              <a:gd name="T94" fmla="*/ 2357 w 4300"/>
              <a:gd name="T95" fmla="*/ 4153 h 4153"/>
              <a:gd name="T96" fmla="*/ 2250 w 4300"/>
              <a:gd name="T97" fmla="*/ 2844 h 4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00" h="4153">
                <a:moveTo>
                  <a:pt x="3482" y="2236"/>
                </a:moveTo>
                <a:lnTo>
                  <a:pt x="4193" y="2236"/>
                </a:lnTo>
                <a:cubicBezTo>
                  <a:pt x="4223" y="2236"/>
                  <a:pt x="4249" y="2247"/>
                  <a:pt x="4269" y="2267"/>
                </a:cubicBezTo>
                <a:cubicBezTo>
                  <a:pt x="4288" y="2286"/>
                  <a:pt x="4300" y="2313"/>
                  <a:pt x="4300" y="2342"/>
                </a:cubicBezTo>
                <a:lnTo>
                  <a:pt x="4300" y="4046"/>
                </a:lnTo>
                <a:cubicBezTo>
                  <a:pt x="4300" y="4076"/>
                  <a:pt x="4288" y="4102"/>
                  <a:pt x="4268" y="4122"/>
                </a:cubicBezTo>
                <a:lnTo>
                  <a:pt x="4269" y="4122"/>
                </a:lnTo>
                <a:cubicBezTo>
                  <a:pt x="4249" y="4141"/>
                  <a:pt x="4223" y="4153"/>
                  <a:pt x="4193" y="4153"/>
                </a:cubicBezTo>
                <a:lnTo>
                  <a:pt x="3482" y="4153"/>
                </a:lnTo>
                <a:cubicBezTo>
                  <a:pt x="3452" y="4153"/>
                  <a:pt x="3426" y="4141"/>
                  <a:pt x="3406" y="4122"/>
                </a:cubicBezTo>
                <a:lnTo>
                  <a:pt x="3406" y="4122"/>
                </a:lnTo>
                <a:cubicBezTo>
                  <a:pt x="3387" y="4102"/>
                  <a:pt x="3375" y="4076"/>
                  <a:pt x="3375" y="4046"/>
                </a:cubicBezTo>
                <a:lnTo>
                  <a:pt x="3375" y="2342"/>
                </a:lnTo>
                <a:cubicBezTo>
                  <a:pt x="3375" y="2313"/>
                  <a:pt x="3387" y="2286"/>
                  <a:pt x="3406" y="2267"/>
                </a:cubicBezTo>
                <a:cubicBezTo>
                  <a:pt x="3426" y="2247"/>
                  <a:pt x="3452" y="2236"/>
                  <a:pt x="3482" y="2236"/>
                </a:cubicBezTo>
                <a:close/>
                <a:moveTo>
                  <a:pt x="1232" y="1492"/>
                </a:moveTo>
                <a:lnTo>
                  <a:pt x="1943" y="1492"/>
                </a:lnTo>
                <a:cubicBezTo>
                  <a:pt x="1972" y="1492"/>
                  <a:pt x="1999" y="1504"/>
                  <a:pt x="2018" y="1524"/>
                </a:cubicBezTo>
                <a:cubicBezTo>
                  <a:pt x="2038" y="1543"/>
                  <a:pt x="2050" y="1569"/>
                  <a:pt x="2050" y="1599"/>
                </a:cubicBezTo>
                <a:lnTo>
                  <a:pt x="2050" y="4046"/>
                </a:lnTo>
                <a:cubicBezTo>
                  <a:pt x="2050" y="4076"/>
                  <a:pt x="2038" y="4103"/>
                  <a:pt x="2018" y="4122"/>
                </a:cubicBezTo>
                <a:cubicBezTo>
                  <a:pt x="1999" y="4141"/>
                  <a:pt x="1972" y="4153"/>
                  <a:pt x="1943" y="4153"/>
                </a:cubicBezTo>
                <a:lnTo>
                  <a:pt x="1232" y="4153"/>
                </a:lnTo>
                <a:cubicBezTo>
                  <a:pt x="1202" y="4153"/>
                  <a:pt x="1175" y="4141"/>
                  <a:pt x="1156" y="4122"/>
                </a:cubicBezTo>
                <a:cubicBezTo>
                  <a:pt x="1137" y="4103"/>
                  <a:pt x="1125" y="4076"/>
                  <a:pt x="1125" y="4046"/>
                </a:cubicBezTo>
                <a:lnTo>
                  <a:pt x="1125" y="1599"/>
                </a:lnTo>
                <a:cubicBezTo>
                  <a:pt x="1125" y="1569"/>
                  <a:pt x="1137" y="1543"/>
                  <a:pt x="1156" y="1524"/>
                </a:cubicBezTo>
                <a:cubicBezTo>
                  <a:pt x="1175" y="1504"/>
                  <a:pt x="1202" y="1492"/>
                  <a:pt x="1232" y="1492"/>
                </a:cubicBezTo>
                <a:close/>
                <a:moveTo>
                  <a:pt x="726" y="924"/>
                </a:moveTo>
                <a:lnTo>
                  <a:pt x="1205" y="571"/>
                </a:lnTo>
                <a:cubicBezTo>
                  <a:pt x="1195" y="549"/>
                  <a:pt x="1188" y="525"/>
                  <a:pt x="1183" y="501"/>
                </a:cubicBezTo>
                <a:cubicBezTo>
                  <a:pt x="1177" y="473"/>
                  <a:pt x="1174" y="443"/>
                  <a:pt x="1174" y="413"/>
                </a:cubicBezTo>
                <a:cubicBezTo>
                  <a:pt x="1174" y="357"/>
                  <a:pt x="1185" y="304"/>
                  <a:pt x="1205" y="255"/>
                </a:cubicBezTo>
                <a:cubicBezTo>
                  <a:pt x="1226" y="205"/>
                  <a:pt x="1257" y="159"/>
                  <a:pt x="1295" y="121"/>
                </a:cubicBezTo>
                <a:cubicBezTo>
                  <a:pt x="1333" y="83"/>
                  <a:pt x="1378" y="52"/>
                  <a:pt x="1429" y="31"/>
                </a:cubicBezTo>
                <a:cubicBezTo>
                  <a:pt x="1478" y="11"/>
                  <a:pt x="1531" y="0"/>
                  <a:pt x="1587" y="0"/>
                </a:cubicBezTo>
                <a:cubicBezTo>
                  <a:pt x="1643" y="0"/>
                  <a:pt x="1697" y="11"/>
                  <a:pt x="1745" y="31"/>
                </a:cubicBezTo>
                <a:cubicBezTo>
                  <a:pt x="1796" y="52"/>
                  <a:pt x="1842" y="83"/>
                  <a:pt x="1880" y="121"/>
                </a:cubicBezTo>
                <a:cubicBezTo>
                  <a:pt x="1918" y="159"/>
                  <a:pt x="1949" y="205"/>
                  <a:pt x="1970" y="255"/>
                </a:cubicBezTo>
                <a:cubicBezTo>
                  <a:pt x="1990" y="304"/>
                  <a:pt x="2001" y="357"/>
                  <a:pt x="2001" y="413"/>
                </a:cubicBezTo>
                <a:cubicBezTo>
                  <a:pt x="2001" y="457"/>
                  <a:pt x="1994" y="499"/>
                  <a:pt x="1982" y="538"/>
                </a:cubicBezTo>
                <a:cubicBezTo>
                  <a:pt x="1970" y="575"/>
                  <a:pt x="1954" y="609"/>
                  <a:pt x="1933" y="640"/>
                </a:cubicBezTo>
                <a:lnTo>
                  <a:pt x="2513" y="1264"/>
                </a:lnTo>
                <a:cubicBezTo>
                  <a:pt x="2541" y="1249"/>
                  <a:pt x="2571" y="1237"/>
                  <a:pt x="2603" y="1228"/>
                </a:cubicBezTo>
                <a:cubicBezTo>
                  <a:pt x="2638" y="1218"/>
                  <a:pt x="2675" y="1213"/>
                  <a:pt x="2712" y="1213"/>
                </a:cubicBezTo>
                <a:cubicBezTo>
                  <a:pt x="2768" y="1213"/>
                  <a:pt x="2822" y="1224"/>
                  <a:pt x="2871" y="1244"/>
                </a:cubicBezTo>
                <a:cubicBezTo>
                  <a:pt x="2921" y="1265"/>
                  <a:pt x="2967" y="1296"/>
                  <a:pt x="3005" y="1334"/>
                </a:cubicBezTo>
                <a:cubicBezTo>
                  <a:pt x="3013" y="1342"/>
                  <a:pt x="3021" y="1351"/>
                  <a:pt x="3029" y="1360"/>
                </a:cubicBezTo>
                <a:cubicBezTo>
                  <a:pt x="3033" y="1366"/>
                  <a:pt x="3038" y="1371"/>
                  <a:pt x="3042" y="1377"/>
                </a:cubicBezTo>
                <a:lnTo>
                  <a:pt x="3395" y="1226"/>
                </a:lnTo>
                <a:cubicBezTo>
                  <a:pt x="3393" y="1217"/>
                  <a:pt x="3392" y="1208"/>
                  <a:pt x="3391" y="1199"/>
                </a:cubicBezTo>
                <a:cubicBezTo>
                  <a:pt x="3390" y="1185"/>
                  <a:pt x="3389" y="1172"/>
                  <a:pt x="3389" y="1159"/>
                </a:cubicBezTo>
                <a:cubicBezTo>
                  <a:pt x="3389" y="1103"/>
                  <a:pt x="3401" y="1049"/>
                  <a:pt x="3421" y="1001"/>
                </a:cubicBezTo>
                <a:cubicBezTo>
                  <a:pt x="3442" y="950"/>
                  <a:pt x="3472" y="905"/>
                  <a:pt x="3511" y="866"/>
                </a:cubicBezTo>
                <a:cubicBezTo>
                  <a:pt x="3549" y="828"/>
                  <a:pt x="3594" y="798"/>
                  <a:pt x="3645" y="777"/>
                </a:cubicBezTo>
                <a:cubicBezTo>
                  <a:pt x="3694" y="756"/>
                  <a:pt x="3747" y="745"/>
                  <a:pt x="3803" y="745"/>
                </a:cubicBezTo>
                <a:cubicBezTo>
                  <a:pt x="3859" y="745"/>
                  <a:pt x="3912" y="756"/>
                  <a:pt x="3961" y="777"/>
                </a:cubicBezTo>
                <a:cubicBezTo>
                  <a:pt x="4012" y="798"/>
                  <a:pt x="4058" y="828"/>
                  <a:pt x="4096" y="866"/>
                </a:cubicBezTo>
                <a:cubicBezTo>
                  <a:pt x="4134" y="905"/>
                  <a:pt x="4164" y="950"/>
                  <a:pt x="4185" y="1001"/>
                </a:cubicBezTo>
                <a:cubicBezTo>
                  <a:pt x="4206" y="1049"/>
                  <a:pt x="4217" y="1103"/>
                  <a:pt x="4217" y="1159"/>
                </a:cubicBezTo>
                <a:cubicBezTo>
                  <a:pt x="4217" y="1215"/>
                  <a:pt x="4206" y="1268"/>
                  <a:pt x="4185" y="1317"/>
                </a:cubicBezTo>
                <a:cubicBezTo>
                  <a:pt x="4164" y="1368"/>
                  <a:pt x="4134" y="1413"/>
                  <a:pt x="4096" y="1452"/>
                </a:cubicBezTo>
                <a:cubicBezTo>
                  <a:pt x="4058" y="1489"/>
                  <a:pt x="4012" y="1520"/>
                  <a:pt x="3961" y="1541"/>
                </a:cubicBezTo>
                <a:cubicBezTo>
                  <a:pt x="3912" y="1561"/>
                  <a:pt x="3859" y="1573"/>
                  <a:pt x="3803" y="1573"/>
                </a:cubicBezTo>
                <a:cubicBezTo>
                  <a:pt x="3747" y="1573"/>
                  <a:pt x="3694" y="1561"/>
                  <a:pt x="3645" y="1541"/>
                </a:cubicBezTo>
                <a:cubicBezTo>
                  <a:pt x="3594" y="1520"/>
                  <a:pt x="3549" y="1489"/>
                  <a:pt x="3511" y="1452"/>
                </a:cubicBezTo>
                <a:cubicBezTo>
                  <a:pt x="3497" y="1438"/>
                  <a:pt x="3485" y="1424"/>
                  <a:pt x="3473" y="1409"/>
                </a:cubicBezTo>
                <a:lnTo>
                  <a:pt x="3121" y="1560"/>
                </a:lnTo>
                <a:cubicBezTo>
                  <a:pt x="3122" y="1569"/>
                  <a:pt x="3123" y="1578"/>
                  <a:pt x="3124" y="1587"/>
                </a:cubicBezTo>
                <a:cubicBezTo>
                  <a:pt x="3125" y="1600"/>
                  <a:pt x="3126" y="1614"/>
                  <a:pt x="3126" y="1627"/>
                </a:cubicBezTo>
                <a:cubicBezTo>
                  <a:pt x="3126" y="1683"/>
                  <a:pt x="3115" y="1736"/>
                  <a:pt x="3095" y="1785"/>
                </a:cubicBezTo>
                <a:cubicBezTo>
                  <a:pt x="3074" y="1836"/>
                  <a:pt x="3043" y="1881"/>
                  <a:pt x="3005" y="1919"/>
                </a:cubicBezTo>
                <a:cubicBezTo>
                  <a:pt x="2967" y="1957"/>
                  <a:pt x="2921" y="1988"/>
                  <a:pt x="2871" y="2009"/>
                </a:cubicBezTo>
                <a:cubicBezTo>
                  <a:pt x="2822" y="2029"/>
                  <a:pt x="2768" y="2040"/>
                  <a:pt x="2712" y="2040"/>
                </a:cubicBezTo>
                <a:cubicBezTo>
                  <a:pt x="2656" y="2040"/>
                  <a:pt x="2603" y="2029"/>
                  <a:pt x="2554" y="2009"/>
                </a:cubicBezTo>
                <a:cubicBezTo>
                  <a:pt x="2503" y="1988"/>
                  <a:pt x="2458" y="1957"/>
                  <a:pt x="2420" y="1919"/>
                </a:cubicBezTo>
                <a:cubicBezTo>
                  <a:pt x="2382" y="1881"/>
                  <a:pt x="2351" y="1836"/>
                  <a:pt x="2330" y="1785"/>
                </a:cubicBezTo>
                <a:cubicBezTo>
                  <a:pt x="2310" y="1736"/>
                  <a:pt x="2299" y="1683"/>
                  <a:pt x="2299" y="1627"/>
                </a:cubicBezTo>
                <a:cubicBezTo>
                  <a:pt x="2299" y="1583"/>
                  <a:pt x="2305" y="1541"/>
                  <a:pt x="2318" y="1502"/>
                </a:cubicBezTo>
                <a:cubicBezTo>
                  <a:pt x="2329" y="1466"/>
                  <a:pt x="2346" y="1431"/>
                  <a:pt x="2366" y="1400"/>
                </a:cubicBezTo>
                <a:lnTo>
                  <a:pt x="1787" y="776"/>
                </a:lnTo>
                <a:cubicBezTo>
                  <a:pt x="1759" y="791"/>
                  <a:pt x="1729" y="804"/>
                  <a:pt x="1697" y="812"/>
                </a:cubicBezTo>
                <a:cubicBezTo>
                  <a:pt x="1662" y="822"/>
                  <a:pt x="1625" y="827"/>
                  <a:pt x="1587" y="827"/>
                </a:cubicBezTo>
                <a:cubicBezTo>
                  <a:pt x="1536" y="827"/>
                  <a:pt x="1486" y="818"/>
                  <a:pt x="1441" y="800"/>
                </a:cubicBezTo>
                <a:cubicBezTo>
                  <a:pt x="1398" y="784"/>
                  <a:pt x="1358" y="761"/>
                  <a:pt x="1323" y="732"/>
                </a:cubicBezTo>
                <a:lnTo>
                  <a:pt x="845" y="1085"/>
                </a:lnTo>
                <a:cubicBezTo>
                  <a:pt x="854" y="1107"/>
                  <a:pt x="861" y="1131"/>
                  <a:pt x="867" y="1155"/>
                </a:cubicBezTo>
                <a:cubicBezTo>
                  <a:pt x="873" y="1184"/>
                  <a:pt x="876" y="1213"/>
                  <a:pt x="876" y="1243"/>
                </a:cubicBezTo>
                <a:cubicBezTo>
                  <a:pt x="876" y="1299"/>
                  <a:pt x="865" y="1352"/>
                  <a:pt x="845" y="1401"/>
                </a:cubicBezTo>
                <a:cubicBezTo>
                  <a:pt x="824" y="1452"/>
                  <a:pt x="793" y="1497"/>
                  <a:pt x="755" y="1535"/>
                </a:cubicBezTo>
                <a:cubicBezTo>
                  <a:pt x="717" y="1573"/>
                  <a:pt x="671" y="1604"/>
                  <a:pt x="620" y="1625"/>
                </a:cubicBezTo>
                <a:cubicBezTo>
                  <a:pt x="572" y="1645"/>
                  <a:pt x="518" y="1656"/>
                  <a:pt x="462" y="1656"/>
                </a:cubicBezTo>
                <a:cubicBezTo>
                  <a:pt x="406" y="1656"/>
                  <a:pt x="353" y="1645"/>
                  <a:pt x="304" y="1625"/>
                </a:cubicBezTo>
                <a:cubicBezTo>
                  <a:pt x="253" y="1604"/>
                  <a:pt x="208" y="1573"/>
                  <a:pt x="170" y="1535"/>
                </a:cubicBezTo>
                <a:cubicBezTo>
                  <a:pt x="132" y="1497"/>
                  <a:pt x="101" y="1452"/>
                  <a:pt x="80" y="1401"/>
                </a:cubicBezTo>
                <a:cubicBezTo>
                  <a:pt x="60" y="1352"/>
                  <a:pt x="49" y="1299"/>
                  <a:pt x="49" y="1243"/>
                </a:cubicBezTo>
                <a:cubicBezTo>
                  <a:pt x="49" y="1187"/>
                  <a:pt x="60" y="1133"/>
                  <a:pt x="80" y="1084"/>
                </a:cubicBezTo>
                <a:cubicBezTo>
                  <a:pt x="101" y="1034"/>
                  <a:pt x="132" y="988"/>
                  <a:pt x="170" y="950"/>
                </a:cubicBezTo>
                <a:cubicBezTo>
                  <a:pt x="208" y="912"/>
                  <a:pt x="253" y="881"/>
                  <a:pt x="304" y="860"/>
                </a:cubicBezTo>
                <a:cubicBezTo>
                  <a:pt x="353" y="840"/>
                  <a:pt x="406" y="829"/>
                  <a:pt x="462" y="829"/>
                </a:cubicBezTo>
                <a:cubicBezTo>
                  <a:pt x="514" y="829"/>
                  <a:pt x="563" y="838"/>
                  <a:pt x="609" y="856"/>
                </a:cubicBezTo>
                <a:cubicBezTo>
                  <a:pt x="652" y="872"/>
                  <a:pt x="691" y="895"/>
                  <a:pt x="726" y="924"/>
                </a:cubicBezTo>
                <a:close/>
                <a:moveTo>
                  <a:pt x="3954" y="1008"/>
                </a:moveTo>
                <a:cubicBezTo>
                  <a:pt x="3934" y="988"/>
                  <a:pt x="3911" y="972"/>
                  <a:pt x="3885" y="961"/>
                </a:cubicBezTo>
                <a:cubicBezTo>
                  <a:pt x="3860" y="951"/>
                  <a:pt x="3832" y="945"/>
                  <a:pt x="3803" y="945"/>
                </a:cubicBezTo>
                <a:cubicBezTo>
                  <a:pt x="3774" y="945"/>
                  <a:pt x="3746" y="951"/>
                  <a:pt x="3721" y="961"/>
                </a:cubicBezTo>
                <a:cubicBezTo>
                  <a:pt x="3695" y="972"/>
                  <a:pt x="3672" y="988"/>
                  <a:pt x="3652" y="1008"/>
                </a:cubicBezTo>
                <a:cubicBezTo>
                  <a:pt x="3632" y="1028"/>
                  <a:pt x="3616" y="1051"/>
                  <a:pt x="3606" y="1077"/>
                </a:cubicBezTo>
                <a:cubicBezTo>
                  <a:pt x="3595" y="1102"/>
                  <a:pt x="3589" y="1130"/>
                  <a:pt x="3589" y="1159"/>
                </a:cubicBezTo>
                <a:cubicBezTo>
                  <a:pt x="3589" y="1188"/>
                  <a:pt x="3595" y="1216"/>
                  <a:pt x="3606" y="1241"/>
                </a:cubicBezTo>
                <a:cubicBezTo>
                  <a:pt x="3616" y="1267"/>
                  <a:pt x="3632" y="1290"/>
                  <a:pt x="3652" y="1310"/>
                </a:cubicBezTo>
                <a:cubicBezTo>
                  <a:pt x="3672" y="1330"/>
                  <a:pt x="3695" y="1346"/>
                  <a:pt x="3721" y="1356"/>
                </a:cubicBezTo>
                <a:cubicBezTo>
                  <a:pt x="3746" y="1367"/>
                  <a:pt x="3774" y="1373"/>
                  <a:pt x="3803" y="1373"/>
                </a:cubicBezTo>
                <a:cubicBezTo>
                  <a:pt x="3832" y="1373"/>
                  <a:pt x="3860" y="1367"/>
                  <a:pt x="3885" y="1356"/>
                </a:cubicBezTo>
                <a:cubicBezTo>
                  <a:pt x="3911" y="1346"/>
                  <a:pt x="3934" y="1330"/>
                  <a:pt x="3954" y="1310"/>
                </a:cubicBezTo>
                <a:cubicBezTo>
                  <a:pt x="3974" y="1290"/>
                  <a:pt x="3990" y="1267"/>
                  <a:pt x="4001" y="1241"/>
                </a:cubicBezTo>
                <a:cubicBezTo>
                  <a:pt x="4011" y="1216"/>
                  <a:pt x="4017" y="1188"/>
                  <a:pt x="4017" y="1159"/>
                </a:cubicBezTo>
                <a:cubicBezTo>
                  <a:pt x="4017" y="1130"/>
                  <a:pt x="4011" y="1102"/>
                  <a:pt x="4001" y="1077"/>
                </a:cubicBezTo>
                <a:cubicBezTo>
                  <a:pt x="3990" y="1051"/>
                  <a:pt x="3974" y="1028"/>
                  <a:pt x="3954" y="1008"/>
                </a:cubicBezTo>
                <a:close/>
                <a:moveTo>
                  <a:pt x="2863" y="1476"/>
                </a:moveTo>
                <a:cubicBezTo>
                  <a:pt x="2844" y="1456"/>
                  <a:pt x="2820" y="1440"/>
                  <a:pt x="2794" y="1429"/>
                </a:cubicBezTo>
                <a:cubicBezTo>
                  <a:pt x="2769" y="1419"/>
                  <a:pt x="2741" y="1413"/>
                  <a:pt x="2712" y="1413"/>
                </a:cubicBezTo>
                <a:cubicBezTo>
                  <a:pt x="2683" y="1413"/>
                  <a:pt x="2656" y="1419"/>
                  <a:pt x="2631" y="1429"/>
                </a:cubicBezTo>
                <a:cubicBezTo>
                  <a:pt x="2605" y="1440"/>
                  <a:pt x="2581" y="1456"/>
                  <a:pt x="2561" y="1476"/>
                </a:cubicBezTo>
                <a:cubicBezTo>
                  <a:pt x="2541" y="1495"/>
                  <a:pt x="2526" y="1519"/>
                  <a:pt x="2515" y="1545"/>
                </a:cubicBezTo>
                <a:cubicBezTo>
                  <a:pt x="2504" y="1570"/>
                  <a:pt x="2499" y="1598"/>
                  <a:pt x="2499" y="1627"/>
                </a:cubicBezTo>
                <a:cubicBezTo>
                  <a:pt x="2499" y="1656"/>
                  <a:pt x="2504" y="1684"/>
                  <a:pt x="2515" y="1709"/>
                </a:cubicBezTo>
                <a:cubicBezTo>
                  <a:pt x="2526" y="1735"/>
                  <a:pt x="2541" y="1758"/>
                  <a:pt x="2561" y="1778"/>
                </a:cubicBezTo>
                <a:cubicBezTo>
                  <a:pt x="2581" y="1798"/>
                  <a:pt x="2605" y="1813"/>
                  <a:pt x="2631" y="1824"/>
                </a:cubicBezTo>
                <a:cubicBezTo>
                  <a:pt x="2656" y="1835"/>
                  <a:pt x="2683" y="1841"/>
                  <a:pt x="2712" y="1841"/>
                </a:cubicBezTo>
                <a:cubicBezTo>
                  <a:pt x="2741" y="1841"/>
                  <a:pt x="2769" y="1835"/>
                  <a:pt x="2794" y="1824"/>
                </a:cubicBezTo>
                <a:cubicBezTo>
                  <a:pt x="2820" y="1813"/>
                  <a:pt x="2844" y="1798"/>
                  <a:pt x="2863" y="1778"/>
                </a:cubicBezTo>
                <a:cubicBezTo>
                  <a:pt x="2883" y="1758"/>
                  <a:pt x="2899" y="1735"/>
                  <a:pt x="2910" y="1709"/>
                </a:cubicBezTo>
                <a:cubicBezTo>
                  <a:pt x="2920" y="1684"/>
                  <a:pt x="2926" y="1656"/>
                  <a:pt x="2926" y="1627"/>
                </a:cubicBezTo>
                <a:cubicBezTo>
                  <a:pt x="2926" y="1598"/>
                  <a:pt x="2920" y="1570"/>
                  <a:pt x="2910" y="1545"/>
                </a:cubicBezTo>
                <a:cubicBezTo>
                  <a:pt x="2899" y="1519"/>
                  <a:pt x="2883" y="1495"/>
                  <a:pt x="2863" y="1476"/>
                </a:cubicBezTo>
                <a:close/>
                <a:moveTo>
                  <a:pt x="1738" y="262"/>
                </a:moveTo>
                <a:cubicBezTo>
                  <a:pt x="1719" y="243"/>
                  <a:pt x="1695" y="227"/>
                  <a:pt x="1669" y="216"/>
                </a:cubicBezTo>
                <a:cubicBezTo>
                  <a:pt x="1644" y="205"/>
                  <a:pt x="1616" y="200"/>
                  <a:pt x="1587" y="200"/>
                </a:cubicBezTo>
                <a:cubicBezTo>
                  <a:pt x="1558" y="200"/>
                  <a:pt x="1531" y="205"/>
                  <a:pt x="1506" y="216"/>
                </a:cubicBezTo>
                <a:cubicBezTo>
                  <a:pt x="1479" y="227"/>
                  <a:pt x="1456" y="243"/>
                  <a:pt x="1436" y="262"/>
                </a:cubicBezTo>
                <a:cubicBezTo>
                  <a:pt x="1416" y="282"/>
                  <a:pt x="1401" y="306"/>
                  <a:pt x="1390" y="332"/>
                </a:cubicBezTo>
                <a:cubicBezTo>
                  <a:pt x="1379" y="357"/>
                  <a:pt x="1374" y="385"/>
                  <a:pt x="1374" y="413"/>
                </a:cubicBezTo>
                <a:cubicBezTo>
                  <a:pt x="1374" y="443"/>
                  <a:pt x="1379" y="470"/>
                  <a:pt x="1390" y="495"/>
                </a:cubicBezTo>
                <a:cubicBezTo>
                  <a:pt x="1401" y="521"/>
                  <a:pt x="1416" y="545"/>
                  <a:pt x="1436" y="565"/>
                </a:cubicBezTo>
                <a:cubicBezTo>
                  <a:pt x="1456" y="584"/>
                  <a:pt x="1479" y="600"/>
                  <a:pt x="1506" y="611"/>
                </a:cubicBezTo>
                <a:cubicBezTo>
                  <a:pt x="1531" y="622"/>
                  <a:pt x="1558" y="627"/>
                  <a:pt x="1587" y="627"/>
                </a:cubicBezTo>
                <a:cubicBezTo>
                  <a:pt x="1616" y="627"/>
                  <a:pt x="1644" y="622"/>
                  <a:pt x="1669" y="611"/>
                </a:cubicBezTo>
                <a:cubicBezTo>
                  <a:pt x="1695" y="600"/>
                  <a:pt x="1719" y="584"/>
                  <a:pt x="1738" y="565"/>
                </a:cubicBezTo>
                <a:cubicBezTo>
                  <a:pt x="1758" y="545"/>
                  <a:pt x="1774" y="521"/>
                  <a:pt x="1785" y="495"/>
                </a:cubicBezTo>
                <a:cubicBezTo>
                  <a:pt x="1795" y="470"/>
                  <a:pt x="1801" y="443"/>
                  <a:pt x="1801" y="413"/>
                </a:cubicBezTo>
                <a:cubicBezTo>
                  <a:pt x="1801" y="385"/>
                  <a:pt x="1795" y="357"/>
                  <a:pt x="1785" y="332"/>
                </a:cubicBezTo>
                <a:cubicBezTo>
                  <a:pt x="1774" y="306"/>
                  <a:pt x="1758" y="282"/>
                  <a:pt x="1738" y="262"/>
                </a:cubicBezTo>
                <a:close/>
                <a:moveTo>
                  <a:pt x="613" y="1091"/>
                </a:moveTo>
                <a:cubicBezTo>
                  <a:pt x="594" y="1072"/>
                  <a:pt x="570" y="1056"/>
                  <a:pt x="544" y="1045"/>
                </a:cubicBezTo>
                <a:cubicBezTo>
                  <a:pt x="519" y="1035"/>
                  <a:pt x="491" y="1029"/>
                  <a:pt x="462" y="1029"/>
                </a:cubicBezTo>
                <a:cubicBezTo>
                  <a:pt x="433" y="1029"/>
                  <a:pt x="406" y="1035"/>
                  <a:pt x="380" y="1045"/>
                </a:cubicBezTo>
                <a:cubicBezTo>
                  <a:pt x="354" y="1056"/>
                  <a:pt x="331" y="1072"/>
                  <a:pt x="311" y="1091"/>
                </a:cubicBezTo>
                <a:cubicBezTo>
                  <a:pt x="291" y="1111"/>
                  <a:pt x="275" y="1135"/>
                  <a:pt x="265" y="1161"/>
                </a:cubicBezTo>
                <a:cubicBezTo>
                  <a:pt x="254" y="1186"/>
                  <a:pt x="249" y="1214"/>
                  <a:pt x="249" y="1243"/>
                </a:cubicBezTo>
                <a:cubicBezTo>
                  <a:pt x="249" y="1272"/>
                  <a:pt x="254" y="1299"/>
                  <a:pt x="265" y="1324"/>
                </a:cubicBezTo>
                <a:cubicBezTo>
                  <a:pt x="275" y="1350"/>
                  <a:pt x="291" y="1374"/>
                  <a:pt x="311" y="1394"/>
                </a:cubicBezTo>
                <a:cubicBezTo>
                  <a:pt x="331" y="1413"/>
                  <a:pt x="354" y="1429"/>
                  <a:pt x="380" y="1440"/>
                </a:cubicBezTo>
                <a:cubicBezTo>
                  <a:pt x="406" y="1451"/>
                  <a:pt x="433" y="1456"/>
                  <a:pt x="462" y="1456"/>
                </a:cubicBezTo>
                <a:cubicBezTo>
                  <a:pt x="491" y="1456"/>
                  <a:pt x="519" y="1451"/>
                  <a:pt x="544" y="1440"/>
                </a:cubicBezTo>
                <a:cubicBezTo>
                  <a:pt x="570" y="1429"/>
                  <a:pt x="594" y="1413"/>
                  <a:pt x="613" y="1394"/>
                </a:cubicBezTo>
                <a:cubicBezTo>
                  <a:pt x="633" y="1374"/>
                  <a:pt x="649" y="1350"/>
                  <a:pt x="660" y="1324"/>
                </a:cubicBezTo>
                <a:cubicBezTo>
                  <a:pt x="670" y="1299"/>
                  <a:pt x="676" y="1272"/>
                  <a:pt x="676" y="1243"/>
                </a:cubicBezTo>
                <a:cubicBezTo>
                  <a:pt x="676" y="1214"/>
                  <a:pt x="670" y="1186"/>
                  <a:pt x="660" y="1161"/>
                </a:cubicBezTo>
                <a:cubicBezTo>
                  <a:pt x="649" y="1135"/>
                  <a:pt x="633" y="1111"/>
                  <a:pt x="613" y="1091"/>
                </a:cubicBezTo>
                <a:close/>
                <a:moveTo>
                  <a:pt x="106" y="2320"/>
                </a:moveTo>
                <a:lnTo>
                  <a:pt x="818" y="2320"/>
                </a:lnTo>
                <a:cubicBezTo>
                  <a:pt x="847" y="2320"/>
                  <a:pt x="874" y="2332"/>
                  <a:pt x="893" y="2352"/>
                </a:cubicBezTo>
                <a:cubicBezTo>
                  <a:pt x="913" y="2371"/>
                  <a:pt x="925" y="2398"/>
                  <a:pt x="925" y="2427"/>
                </a:cubicBezTo>
                <a:lnTo>
                  <a:pt x="925" y="4046"/>
                </a:lnTo>
                <a:cubicBezTo>
                  <a:pt x="925" y="4076"/>
                  <a:pt x="913" y="4103"/>
                  <a:pt x="893" y="4122"/>
                </a:cubicBezTo>
                <a:cubicBezTo>
                  <a:pt x="874" y="4141"/>
                  <a:pt x="847" y="4153"/>
                  <a:pt x="818" y="4153"/>
                </a:cubicBezTo>
                <a:lnTo>
                  <a:pt x="106" y="4153"/>
                </a:lnTo>
                <a:cubicBezTo>
                  <a:pt x="77" y="4153"/>
                  <a:pt x="50" y="4141"/>
                  <a:pt x="31" y="4122"/>
                </a:cubicBezTo>
                <a:cubicBezTo>
                  <a:pt x="12" y="4103"/>
                  <a:pt x="0" y="4076"/>
                  <a:pt x="0" y="4046"/>
                </a:cubicBezTo>
                <a:lnTo>
                  <a:pt x="0" y="2427"/>
                </a:lnTo>
                <a:cubicBezTo>
                  <a:pt x="0" y="2398"/>
                  <a:pt x="12" y="2371"/>
                  <a:pt x="31" y="2352"/>
                </a:cubicBezTo>
                <a:cubicBezTo>
                  <a:pt x="50" y="2332"/>
                  <a:pt x="77" y="2320"/>
                  <a:pt x="106" y="2320"/>
                </a:cubicBezTo>
                <a:close/>
                <a:moveTo>
                  <a:pt x="2357" y="2737"/>
                </a:moveTo>
                <a:lnTo>
                  <a:pt x="3068" y="2737"/>
                </a:lnTo>
                <a:cubicBezTo>
                  <a:pt x="3098" y="2737"/>
                  <a:pt x="3124" y="2749"/>
                  <a:pt x="3143" y="2769"/>
                </a:cubicBezTo>
                <a:cubicBezTo>
                  <a:pt x="3163" y="2788"/>
                  <a:pt x="3175" y="2814"/>
                  <a:pt x="3175" y="2844"/>
                </a:cubicBezTo>
                <a:lnTo>
                  <a:pt x="3175" y="4046"/>
                </a:lnTo>
                <a:cubicBezTo>
                  <a:pt x="3175" y="4076"/>
                  <a:pt x="3163" y="4102"/>
                  <a:pt x="3143" y="4122"/>
                </a:cubicBezTo>
                <a:lnTo>
                  <a:pt x="3143" y="4122"/>
                </a:lnTo>
                <a:cubicBezTo>
                  <a:pt x="3124" y="4141"/>
                  <a:pt x="3098" y="4153"/>
                  <a:pt x="3068" y="4153"/>
                </a:cubicBezTo>
                <a:lnTo>
                  <a:pt x="2357" y="4153"/>
                </a:lnTo>
                <a:cubicBezTo>
                  <a:pt x="2327" y="4153"/>
                  <a:pt x="2301" y="4141"/>
                  <a:pt x="2281" y="4122"/>
                </a:cubicBezTo>
                <a:lnTo>
                  <a:pt x="2281" y="4122"/>
                </a:lnTo>
                <a:cubicBezTo>
                  <a:pt x="2262" y="4102"/>
                  <a:pt x="2250" y="4076"/>
                  <a:pt x="2250" y="4046"/>
                </a:cubicBezTo>
                <a:lnTo>
                  <a:pt x="2250" y="2844"/>
                </a:lnTo>
                <a:cubicBezTo>
                  <a:pt x="2250" y="2814"/>
                  <a:pt x="2262" y="2788"/>
                  <a:pt x="2281" y="2769"/>
                </a:cubicBezTo>
                <a:cubicBezTo>
                  <a:pt x="2301" y="2749"/>
                  <a:pt x="2327" y="2737"/>
                  <a:pt x="2357" y="2737"/>
                </a:cubicBezTo>
                <a:lnTo>
                  <a:pt x="2357" y="273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51" name="Email_marketing2" descr="{&quot;Key&quot;:&quot;POWER_USER_SHAPE_ICON&quot;,&quot;Value&quot;:&quot;POWER_USER_SHAPE_ICON_STYLE_1&quot;}">
            <a:extLst>
              <a:ext uri="{FF2B5EF4-FFF2-40B4-BE49-F238E27FC236}">
                <a16:creationId xmlns:a16="http://schemas.microsoft.com/office/drawing/2014/main" id="{0C83A7AB-3142-40F7-9AB4-916666A06591}"/>
              </a:ext>
            </a:extLst>
          </p:cNvPr>
          <p:cNvGrpSpPr>
            <a:grpSpLocks noChangeAspect="1"/>
          </p:cNvGrpSpPr>
          <p:nvPr>
            <p:custDataLst>
              <p:tags r:id="rId2"/>
            </p:custDataLst>
          </p:nvPr>
        </p:nvGrpSpPr>
        <p:grpSpPr>
          <a:xfrm>
            <a:off x="1370278" y="2825806"/>
            <a:ext cx="748722" cy="542925"/>
            <a:chOff x="3948113" y="2471738"/>
            <a:chExt cx="877888" cy="636588"/>
          </a:xfrm>
          <a:solidFill>
            <a:schemeClr val="accent1"/>
          </a:solidFill>
        </p:grpSpPr>
        <p:sp>
          <p:nvSpPr>
            <p:cNvPr id="52" name="Freeform 329">
              <a:extLst>
                <a:ext uri="{FF2B5EF4-FFF2-40B4-BE49-F238E27FC236}">
                  <a16:creationId xmlns:a16="http://schemas.microsoft.com/office/drawing/2014/main" id="{58A9FD7C-8DEE-42E1-990C-4368CAAD3EEA}"/>
                </a:ext>
              </a:extLst>
            </p:cNvPr>
            <p:cNvSpPr>
              <a:spLocks/>
            </p:cNvSpPr>
            <p:nvPr/>
          </p:nvSpPr>
          <p:spPr bwMode="auto">
            <a:xfrm>
              <a:off x="4010026" y="2827338"/>
              <a:ext cx="50800" cy="69850"/>
            </a:xfrm>
            <a:custGeom>
              <a:avLst/>
              <a:gdLst>
                <a:gd name="T0" fmla="*/ 41 w 67"/>
                <a:gd name="T1" fmla="*/ 1 h 91"/>
                <a:gd name="T2" fmla="*/ 4 w 67"/>
                <a:gd name="T3" fmla="*/ 22 h 91"/>
                <a:gd name="T4" fmla="*/ 2 w 67"/>
                <a:gd name="T5" fmla="*/ 24 h 91"/>
                <a:gd name="T6" fmla="*/ 0 w 67"/>
                <a:gd name="T7" fmla="*/ 28 h 91"/>
                <a:gd name="T8" fmla="*/ 0 w 67"/>
                <a:gd name="T9" fmla="*/ 31 h 91"/>
                <a:gd name="T10" fmla="*/ 0 w 67"/>
                <a:gd name="T11" fmla="*/ 35 h 91"/>
                <a:gd name="T12" fmla="*/ 16 w 67"/>
                <a:gd name="T13" fmla="*/ 85 h 91"/>
                <a:gd name="T14" fmla="*/ 18 w 67"/>
                <a:gd name="T15" fmla="*/ 89 h 91"/>
                <a:gd name="T16" fmla="*/ 20 w 67"/>
                <a:gd name="T17" fmla="*/ 91 h 91"/>
                <a:gd name="T18" fmla="*/ 22 w 67"/>
                <a:gd name="T19" fmla="*/ 91 h 91"/>
                <a:gd name="T20" fmla="*/ 25 w 67"/>
                <a:gd name="T21" fmla="*/ 91 h 91"/>
                <a:gd name="T22" fmla="*/ 63 w 67"/>
                <a:gd name="T23" fmla="*/ 70 h 91"/>
                <a:gd name="T24" fmla="*/ 65 w 67"/>
                <a:gd name="T25" fmla="*/ 68 h 91"/>
                <a:gd name="T26" fmla="*/ 67 w 67"/>
                <a:gd name="T27" fmla="*/ 65 h 91"/>
                <a:gd name="T28" fmla="*/ 67 w 67"/>
                <a:gd name="T29" fmla="*/ 61 h 91"/>
                <a:gd name="T30" fmla="*/ 67 w 67"/>
                <a:gd name="T31" fmla="*/ 57 h 91"/>
                <a:gd name="T32" fmla="*/ 50 w 67"/>
                <a:gd name="T33" fmla="*/ 6 h 91"/>
                <a:gd name="T34" fmla="*/ 49 w 67"/>
                <a:gd name="T35" fmla="*/ 3 h 91"/>
                <a:gd name="T36" fmla="*/ 46 w 67"/>
                <a:gd name="T37" fmla="*/ 1 h 91"/>
                <a:gd name="T38" fmla="*/ 44 w 67"/>
                <a:gd name="T39" fmla="*/ 0 h 91"/>
                <a:gd name="T40" fmla="*/ 41 w 67"/>
                <a:gd name="T41" fmla="*/ 1 h 91"/>
                <a:gd name="T42" fmla="*/ 41 w 67"/>
                <a:gd name="T43"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91">
                  <a:moveTo>
                    <a:pt x="41" y="1"/>
                  </a:moveTo>
                  <a:lnTo>
                    <a:pt x="4" y="22"/>
                  </a:lnTo>
                  <a:cubicBezTo>
                    <a:pt x="3" y="23"/>
                    <a:pt x="2" y="24"/>
                    <a:pt x="2" y="24"/>
                  </a:cubicBezTo>
                  <a:cubicBezTo>
                    <a:pt x="1" y="25"/>
                    <a:pt x="1" y="26"/>
                    <a:pt x="0" y="28"/>
                  </a:cubicBezTo>
                  <a:cubicBezTo>
                    <a:pt x="0" y="29"/>
                    <a:pt x="0" y="30"/>
                    <a:pt x="0" y="31"/>
                  </a:cubicBezTo>
                  <a:cubicBezTo>
                    <a:pt x="0" y="32"/>
                    <a:pt x="0" y="34"/>
                    <a:pt x="0" y="35"/>
                  </a:cubicBezTo>
                  <a:lnTo>
                    <a:pt x="16" y="85"/>
                  </a:lnTo>
                  <a:cubicBezTo>
                    <a:pt x="16" y="87"/>
                    <a:pt x="17" y="88"/>
                    <a:pt x="18" y="89"/>
                  </a:cubicBezTo>
                  <a:cubicBezTo>
                    <a:pt x="18" y="89"/>
                    <a:pt x="19" y="90"/>
                    <a:pt x="20" y="91"/>
                  </a:cubicBezTo>
                  <a:cubicBezTo>
                    <a:pt x="21" y="91"/>
                    <a:pt x="22" y="91"/>
                    <a:pt x="22" y="91"/>
                  </a:cubicBezTo>
                  <a:cubicBezTo>
                    <a:pt x="23" y="91"/>
                    <a:pt x="24" y="91"/>
                    <a:pt x="25" y="91"/>
                  </a:cubicBezTo>
                  <a:lnTo>
                    <a:pt x="63" y="70"/>
                  </a:lnTo>
                  <a:cubicBezTo>
                    <a:pt x="64" y="70"/>
                    <a:pt x="65" y="69"/>
                    <a:pt x="65" y="68"/>
                  </a:cubicBezTo>
                  <a:cubicBezTo>
                    <a:pt x="66" y="67"/>
                    <a:pt x="66" y="66"/>
                    <a:pt x="67" y="65"/>
                  </a:cubicBezTo>
                  <a:cubicBezTo>
                    <a:pt x="67" y="64"/>
                    <a:pt x="67" y="62"/>
                    <a:pt x="67" y="61"/>
                  </a:cubicBezTo>
                  <a:cubicBezTo>
                    <a:pt x="67" y="60"/>
                    <a:pt x="67" y="59"/>
                    <a:pt x="67" y="57"/>
                  </a:cubicBezTo>
                  <a:lnTo>
                    <a:pt x="50" y="6"/>
                  </a:lnTo>
                  <a:cubicBezTo>
                    <a:pt x="50" y="4"/>
                    <a:pt x="49" y="3"/>
                    <a:pt x="49" y="3"/>
                  </a:cubicBezTo>
                  <a:cubicBezTo>
                    <a:pt x="48" y="2"/>
                    <a:pt x="47" y="1"/>
                    <a:pt x="46" y="1"/>
                  </a:cubicBezTo>
                  <a:cubicBezTo>
                    <a:pt x="46" y="0"/>
                    <a:pt x="45" y="0"/>
                    <a:pt x="44" y="0"/>
                  </a:cubicBezTo>
                  <a:cubicBezTo>
                    <a:pt x="43" y="0"/>
                    <a:pt x="42" y="0"/>
                    <a:pt x="41" y="1"/>
                  </a:cubicBezTo>
                  <a:lnTo>
                    <a:pt x="41" y="1"/>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Freeform 330">
              <a:extLst>
                <a:ext uri="{FF2B5EF4-FFF2-40B4-BE49-F238E27FC236}">
                  <a16:creationId xmlns:a16="http://schemas.microsoft.com/office/drawing/2014/main" id="{A3679257-484D-4A7B-95F8-1556BEB71221}"/>
                </a:ext>
              </a:extLst>
            </p:cNvPr>
            <p:cNvSpPr>
              <a:spLocks/>
            </p:cNvSpPr>
            <p:nvPr/>
          </p:nvSpPr>
          <p:spPr bwMode="auto">
            <a:xfrm>
              <a:off x="3987801" y="2901951"/>
              <a:ext cx="50800" cy="66675"/>
            </a:xfrm>
            <a:custGeom>
              <a:avLst/>
              <a:gdLst>
                <a:gd name="T0" fmla="*/ 40 w 66"/>
                <a:gd name="T1" fmla="*/ 1 h 89"/>
                <a:gd name="T2" fmla="*/ 5 w 66"/>
                <a:gd name="T3" fmla="*/ 20 h 89"/>
                <a:gd name="T4" fmla="*/ 2 w 66"/>
                <a:gd name="T5" fmla="*/ 22 h 89"/>
                <a:gd name="T6" fmla="*/ 1 w 66"/>
                <a:gd name="T7" fmla="*/ 25 h 89"/>
                <a:gd name="T8" fmla="*/ 0 w 66"/>
                <a:gd name="T9" fmla="*/ 29 h 89"/>
                <a:gd name="T10" fmla="*/ 1 w 66"/>
                <a:gd name="T11" fmla="*/ 32 h 89"/>
                <a:gd name="T12" fmla="*/ 16 w 66"/>
                <a:gd name="T13" fmla="*/ 83 h 89"/>
                <a:gd name="T14" fmla="*/ 18 w 66"/>
                <a:gd name="T15" fmla="*/ 86 h 89"/>
                <a:gd name="T16" fmla="*/ 20 w 66"/>
                <a:gd name="T17" fmla="*/ 88 h 89"/>
                <a:gd name="T18" fmla="*/ 22 w 66"/>
                <a:gd name="T19" fmla="*/ 89 h 89"/>
                <a:gd name="T20" fmla="*/ 25 w 66"/>
                <a:gd name="T21" fmla="*/ 89 h 89"/>
                <a:gd name="T22" fmla="*/ 62 w 66"/>
                <a:gd name="T23" fmla="*/ 70 h 89"/>
                <a:gd name="T24" fmla="*/ 64 w 66"/>
                <a:gd name="T25" fmla="*/ 68 h 89"/>
                <a:gd name="T26" fmla="*/ 66 w 66"/>
                <a:gd name="T27" fmla="*/ 65 h 89"/>
                <a:gd name="T28" fmla="*/ 66 w 66"/>
                <a:gd name="T29" fmla="*/ 62 h 89"/>
                <a:gd name="T30" fmla="*/ 65 w 66"/>
                <a:gd name="T31" fmla="*/ 58 h 89"/>
                <a:gd name="T32" fmla="*/ 50 w 66"/>
                <a:gd name="T33" fmla="*/ 6 h 89"/>
                <a:gd name="T34" fmla="*/ 48 w 66"/>
                <a:gd name="T35" fmla="*/ 3 h 89"/>
                <a:gd name="T36" fmla="*/ 46 w 66"/>
                <a:gd name="T37" fmla="*/ 1 h 89"/>
                <a:gd name="T38" fmla="*/ 43 w 66"/>
                <a:gd name="T39" fmla="*/ 0 h 89"/>
                <a:gd name="T40" fmla="*/ 40 w 66"/>
                <a:gd name="T41" fmla="*/ 1 h 89"/>
                <a:gd name="T42" fmla="*/ 40 w 66"/>
                <a:gd name="T43" fmla="*/ 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6" h="89">
                  <a:moveTo>
                    <a:pt x="40" y="1"/>
                  </a:moveTo>
                  <a:lnTo>
                    <a:pt x="5" y="20"/>
                  </a:lnTo>
                  <a:cubicBezTo>
                    <a:pt x="4" y="21"/>
                    <a:pt x="3" y="22"/>
                    <a:pt x="2" y="22"/>
                  </a:cubicBezTo>
                  <a:cubicBezTo>
                    <a:pt x="2" y="23"/>
                    <a:pt x="1" y="24"/>
                    <a:pt x="1" y="25"/>
                  </a:cubicBezTo>
                  <a:cubicBezTo>
                    <a:pt x="1" y="26"/>
                    <a:pt x="0" y="28"/>
                    <a:pt x="0" y="29"/>
                  </a:cubicBezTo>
                  <a:cubicBezTo>
                    <a:pt x="0" y="30"/>
                    <a:pt x="1" y="31"/>
                    <a:pt x="1" y="32"/>
                  </a:cubicBezTo>
                  <a:lnTo>
                    <a:pt x="16" y="83"/>
                  </a:lnTo>
                  <a:cubicBezTo>
                    <a:pt x="17" y="84"/>
                    <a:pt x="17" y="85"/>
                    <a:pt x="18" y="86"/>
                  </a:cubicBezTo>
                  <a:cubicBezTo>
                    <a:pt x="18" y="87"/>
                    <a:pt x="19" y="88"/>
                    <a:pt x="20" y="88"/>
                  </a:cubicBezTo>
                  <a:cubicBezTo>
                    <a:pt x="21" y="89"/>
                    <a:pt x="22" y="89"/>
                    <a:pt x="22" y="89"/>
                  </a:cubicBezTo>
                  <a:cubicBezTo>
                    <a:pt x="23" y="89"/>
                    <a:pt x="24" y="89"/>
                    <a:pt x="25" y="89"/>
                  </a:cubicBezTo>
                  <a:lnTo>
                    <a:pt x="62" y="70"/>
                  </a:lnTo>
                  <a:cubicBezTo>
                    <a:pt x="63" y="70"/>
                    <a:pt x="63" y="69"/>
                    <a:pt x="64" y="68"/>
                  </a:cubicBezTo>
                  <a:cubicBezTo>
                    <a:pt x="65" y="67"/>
                    <a:pt x="65" y="66"/>
                    <a:pt x="66" y="65"/>
                  </a:cubicBezTo>
                  <a:cubicBezTo>
                    <a:pt x="66" y="64"/>
                    <a:pt x="66" y="63"/>
                    <a:pt x="66" y="62"/>
                  </a:cubicBezTo>
                  <a:cubicBezTo>
                    <a:pt x="66" y="60"/>
                    <a:pt x="66" y="59"/>
                    <a:pt x="65" y="58"/>
                  </a:cubicBezTo>
                  <a:lnTo>
                    <a:pt x="50" y="6"/>
                  </a:lnTo>
                  <a:cubicBezTo>
                    <a:pt x="49" y="5"/>
                    <a:pt x="49" y="4"/>
                    <a:pt x="48" y="3"/>
                  </a:cubicBezTo>
                  <a:cubicBezTo>
                    <a:pt x="47" y="2"/>
                    <a:pt x="47" y="1"/>
                    <a:pt x="46" y="1"/>
                  </a:cubicBezTo>
                  <a:cubicBezTo>
                    <a:pt x="45" y="0"/>
                    <a:pt x="44" y="0"/>
                    <a:pt x="43" y="0"/>
                  </a:cubicBezTo>
                  <a:cubicBezTo>
                    <a:pt x="42" y="0"/>
                    <a:pt x="41" y="0"/>
                    <a:pt x="40" y="1"/>
                  </a:cubicBezTo>
                  <a:lnTo>
                    <a:pt x="40" y="1"/>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Freeform 331">
              <a:extLst>
                <a:ext uri="{FF2B5EF4-FFF2-40B4-BE49-F238E27FC236}">
                  <a16:creationId xmlns:a16="http://schemas.microsoft.com/office/drawing/2014/main" id="{D8A221FC-C063-40B2-81E7-0A422F2BF91E}"/>
                </a:ext>
              </a:extLst>
            </p:cNvPr>
            <p:cNvSpPr>
              <a:spLocks/>
            </p:cNvSpPr>
            <p:nvPr/>
          </p:nvSpPr>
          <p:spPr bwMode="auto">
            <a:xfrm>
              <a:off x="3948113" y="3043238"/>
              <a:ext cx="47625" cy="65088"/>
            </a:xfrm>
            <a:custGeom>
              <a:avLst/>
              <a:gdLst>
                <a:gd name="T0" fmla="*/ 38 w 62"/>
                <a:gd name="T1" fmla="*/ 0 h 85"/>
                <a:gd name="T2" fmla="*/ 4 w 62"/>
                <a:gd name="T3" fmla="*/ 16 h 85"/>
                <a:gd name="T4" fmla="*/ 2 w 62"/>
                <a:gd name="T5" fmla="*/ 18 h 85"/>
                <a:gd name="T6" fmla="*/ 0 w 62"/>
                <a:gd name="T7" fmla="*/ 20 h 85"/>
                <a:gd name="T8" fmla="*/ 0 w 62"/>
                <a:gd name="T9" fmla="*/ 24 h 85"/>
                <a:gd name="T10" fmla="*/ 0 w 62"/>
                <a:gd name="T11" fmla="*/ 27 h 85"/>
                <a:gd name="T12" fmla="*/ 15 w 62"/>
                <a:gd name="T13" fmla="*/ 78 h 85"/>
                <a:gd name="T14" fmla="*/ 16 w 62"/>
                <a:gd name="T15" fmla="*/ 81 h 85"/>
                <a:gd name="T16" fmla="*/ 18 w 62"/>
                <a:gd name="T17" fmla="*/ 84 h 85"/>
                <a:gd name="T18" fmla="*/ 20 w 62"/>
                <a:gd name="T19" fmla="*/ 85 h 85"/>
                <a:gd name="T20" fmla="*/ 23 w 62"/>
                <a:gd name="T21" fmla="*/ 85 h 85"/>
                <a:gd name="T22" fmla="*/ 58 w 62"/>
                <a:gd name="T23" fmla="*/ 70 h 85"/>
                <a:gd name="T24" fmla="*/ 60 w 62"/>
                <a:gd name="T25" fmla="*/ 68 h 85"/>
                <a:gd name="T26" fmla="*/ 61 w 62"/>
                <a:gd name="T27" fmla="*/ 65 h 85"/>
                <a:gd name="T28" fmla="*/ 62 w 62"/>
                <a:gd name="T29" fmla="*/ 62 h 85"/>
                <a:gd name="T30" fmla="*/ 61 w 62"/>
                <a:gd name="T31" fmla="*/ 58 h 85"/>
                <a:gd name="T32" fmla="*/ 46 w 62"/>
                <a:gd name="T33" fmla="*/ 6 h 85"/>
                <a:gd name="T34" fmla="*/ 45 w 62"/>
                <a:gd name="T35" fmla="*/ 3 h 85"/>
                <a:gd name="T36" fmla="*/ 43 w 62"/>
                <a:gd name="T37" fmla="*/ 1 h 85"/>
                <a:gd name="T38" fmla="*/ 40 w 62"/>
                <a:gd name="T39" fmla="*/ 0 h 85"/>
                <a:gd name="T40" fmla="*/ 38 w 62"/>
                <a:gd name="T41" fmla="*/ 0 h 85"/>
                <a:gd name="T42" fmla="*/ 38 w 62"/>
                <a:gd name="T43"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 h="85">
                  <a:moveTo>
                    <a:pt x="38" y="0"/>
                  </a:moveTo>
                  <a:lnTo>
                    <a:pt x="4" y="16"/>
                  </a:lnTo>
                  <a:cubicBezTo>
                    <a:pt x="3" y="16"/>
                    <a:pt x="2" y="17"/>
                    <a:pt x="2" y="18"/>
                  </a:cubicBezTo>
                  <a:cubicBezTo>
                    <a:pt x="1" y="18"/>
                    <a:pt x="0" y="19"/>
                    <a:pt x="0" y="20"/>
                  </a:cubicBezTo>
                  <a:cubicBezTo>
                    <a:pt x="0" y="21"/>
                    <a:pt x="0" y="23"/>
                    <a:pt x="0" y="24"/>
                  </a:cubicBezTo>
                  <a:cubicBezTo>
                    <a:pt x="0" y="25"/>
                    <a:pt x="0" y="26"/>
                    <a:pt x="0" y="27"/>
                  </a:cubicBezTo>
                  <a:lnTo>
                    <a:pt x="15" y="78"/>
                  </a:lnTo>
                  <a:cubicBezTo>
                    <a:pt x="15" y="79"/>
                    <a:pt x="15" y="81"/>
                    <a:pt x="16" y="81"/>
                  </a:cubicBezTo>
                  <a:cubicBezTo>
                    <a:pt x="17" y="82"/>
                    <a:pt x="17" y="83"/>
                    <a:pt x="18" y="84"/>
                  </a:cubicBezTo>
                  <a:cubicBezTo>
                    <a:pt x="19" y="84"/>
                    <a:pt x="20" y="85"/>
                    <a:pt x="20" y="85"/>
                  </a:cubicBezTo>
                  <a:cubicBezTo>
                    <a:pt x="21" y="85"/>
                    <a:pt x="22" y="85"/>
                    <a:pt x="23" y="85"/>
                  </a:cubicBezTo>
                  <a:lnTo>
                    <a:pt x="58" y="70"/>
                  </a:lnTo>
                  <a:cubicBezTo>
                    <a:pt x="59" y="69"/>
                    <a:pt x="59" y="69"/>
                    <a:pt x="60" y="68"/>
                  </a:cubicBezTo>
                  <a:cubicBezTo>
                    <a:pt x="61" y="67"/>
                    <a:pt x="61" y="66"/>
                    <a:pt x="61" y="65"/>
                  </a:cubicBezTo>
                  <a:cubicBezTo>
                    <a:pt x="62" y="64"/>
                    <a:pt x="62" y="63"/>
                    <a:pt x="62" y="62"/>
                  </a:cubicBezTo>
                  <a:cubicBezTo>
                    <a:pt x="62" y="61"/>
                    <a:pt x="62" y="59"/>
                    <a:pt x="61" y="58"/>
                  </a:cubicBezTo>
                  <a:lnTo>
                    <a:pt x="46" y="6"/>
                  </a:lnTo>
                  <a:cubicBezTo>
                    <a:pt x="46" y="5"/>
                    <a:pt x="45" y="4"/>
                    <a:pt x="45" y="3"/>
                  </a:cubicBezTo>
                  <a:cubicBezTo>
                    <a:pt x="44" y="2"/>
                    <a:pt x="43" y="1"/>
                    <a:pt x="43" y="1"/>
                  </a:cubicBezTo>
                  <a:cubicBezTo>
                    <a:pt x="42" y="0"/>
                    <a:pt x="41" y="0"/>
                    <a:pt x="40" y="0"/>
                  </a:cubicBezTo>
                  <a:cubicBezTo>
                    <a:pt x="39" y="0"/>
                    <a:pt x="38" y="0"/>
                    <a:pt x="38" y="0"/>
                  </a:cubicBezTo>
                  <a:lnTo>
                    <a:pt x="38"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 name="Freeform 332">
              <a:extLst>
                <a:ext uri="{FF2B5EF4-FFF2-40B4-BE49-F238E27FC236}">
                  <a16:creationId xmlns:a16="http://schemas.microsoft.com/office/drawing/2014/main" id="{FC7DE643-1D16-4B6C-A2BB-2033CA538F66}"/>
                </a:ext>
              </a:extLst>
            </p:cNvPr>
            <p:cNvSpPr>
              <a:spLocks/>
            </p:cNvSpPr>
            <p:nvPr/>
          </p:nvSpPr>
          <p:spPr bwMode="auto">
            <a:xfrm>
              <a:off x="4019551" y="3008313"/>
              <a:ext cx="52388" cy="69850"/>
            </a:xfrm>
            <a:custGeom>
              <a:avLst/>
              <a:gdLst>
                <a:gd name="T0" fmla="*/ 42 w 68"/>
                <a:gd name="T1" fmla="*/ 0 h 90"/>
                <a:gd name="T2" fmla="*/ 4 w 68"/>
                <a:gd name="T3" fmla="*/ 18 h 90"/>
                <a:gd name="T4" fmla="*/ 2 w 68"/>
                <a:gd name="T5" fmla="*/ 20 h 90"/>
                <a:gd name="T6" fmla="*/ 0 w 68"/>
                <a:gd name="T7" fmla="*/ 23 h 90"/>
                <a:gd name="T8" fmla="*/ 0 w 68"/>
                <a:gd name="T9" fmla="*/ 26 h 90"/>
                <a:gd name="T10" fmla="*/ 0 w 68"/>
                <a:gd name="T11" fmla="*/ 30 h 90"/>
                <a:gd name="T12" fmla="*/ 16 w 68"/>
                <a:gd name="T13" fmla="*/ 83 h 90"/>
                <a:gd name="T14" fmla="*/ 18 w 68"/>
                <a:gd name="T15" fmla="*/ 86 h 90"/>
                <a:gd name="T16" fmla="*/ 20 w 68"/>
                <a:gd name="T17" fmla="*/ 89 h 90"/>
                <a:gd name="T18" fmla="*/ 23 w 68"/>
                <a:gd name="T19" fmla="*/ 90 h 90"/>
                <a:gd name="T20" fmla="*/ 25 w 68"/>
                <a:gd name="T21" fmla="*/ 89 h 90"/>
                <a:gd name="T22" fmla="*/ 64 w 68"/>
                <a:gd name="T23" fmla="*/ 73 h 90"/>
                <a:gd name="T24" fmla="*/ 66 w 68"/>
                <a:gd name="T25" fmla="*/ 71 h 90"/>
                <a:gd name="T26" fmla="*/ 68 w 68"/>
                <a:gd name="T27" fmla="*/ 68 h 90"/>
                <a:gd name="T28" fmla="*/ 68 w 68"/>
                <a:gd name="T29" fmla="*/ 65 h 90"/>
                <a:gd name="T30" fmla="*/ 68 w 68"/>
                <a:gd name="T31" fmla="*/ 61 h 90"/>
                <a:gd name="T32" fmla="*/ 51 w 68"/>
                <a:gd name="T33" fmla="*/ 7 h 90"/>
                <a:gd name="T34" fmla="*/ 49 w 68"/>
                <a:gd name="T35" fmla="*/ 3 h 90"/>
                <a:gd name="T36" fmla="*/ 47 w 68"/>
                <a:gd name="T37" fmla="*/ 1 h 90"/>
                <a:gd name="T38" fmla="*/ 44 w 68"/>
                <a:gd name="T39" fmla="*/ 0 h 90"/>
                <a:gd name="T40" fmla="*/ 42 w 68"/>
                <a:gd name="T41" fmla="*/ 0 h 90"/>
                <a:gd name="T42" fmla="*/ 42 w 68"/>
                <a:gd name="T4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90">
                  <a:moveTo>
                    <a:pt x="42" y="0"/>
                  </a:moveTo>
                  <a:lnTo>
                    <a:pt x="4" y="18"/>
                  </a:lnTo>
                  <a:cubicBezTo>
                    <a:pt x="3" y="18"/>
                    <a:pt x="2" y="19"/>
                    <a:pt x="2" y="20"/>
                  </a:cubicBezTo>
                  <a:cubicBezTo>
                    <a:pt x="1" y="21"/>
                    <a:pt x="1" y="22"/>
                    <a:pt x="0" y="23"/>
                  </a:cubicBezTo>
                  <a:cubicBezTo>
                    <a:pt x="0" y="24"/>
                    <a:pt x="0" y="25"/>
                    <a:pt x="0" y="26"/>
                  </a:cubicBezTo>
                  <a:cubicBezTo>
                    <a:pt x="0" y="27"/>
                    <a:pt x="0" y="29"/>
                    <a:pt x="0" y="30"/>
                  </a:cubicBezTo>
                  <a:lnTo>
                    <a:pt x="16" y="83"/>
                  </a:lnTo>
                  <a:cubicBezTo>
                    <a:pt x="17" y="84"/>
                    <a:pt x="17" y="85"/>
                    <a:pt x="18" y="86"/>
                  </a:cubicBezTo>
                  <a:cubicBezTo>
                    <a:pt x="18" y="87"/>
                    <a:pt x="19" y="88"/>
                    <a:pt x="20" y="89"/>
                  </a:cubicBezTo>
                  <a:cubicBezTo>
                    <a:pt x="21" y="89"/>
                    <a:pt x="22" y="90"/>
                    <a:pt x="23" y="90"/>
                  </a:cubicBezTo>
                  <a:cubicBezTo>
                    <a:pt x="24" y="90"/>
                    <a:pt x="25" y="90"/>
                    <a:pt x="25" y="89"/>
                  </a:cubicBezTo>
                  <a:lnTo>
                    <a:pt x="64" y="73"/>
                  </a:lnTo>
                  <a:cubicBezTo>
                    <a:pt x="65" y="73"/>
                    <a:pt x="66" y="72"/>
                    <a:pt x="66" y="71"/>
                  </a:cubicBezTo>
                  <a:cubicBezTo>
                    <a:pt x="67" y="70"/>
                    <a:pt x="67" y="69"/>
                    <a:pt x="68" y="68"/>
                  </a:cubicBezTo>
                  <a:cubicBezTo>
                    <a:pt x="68" y="67"/>
                    <a:pt x="68" y="66"/>
                    <a:pt x="68" y="65"/>
                  </a:cubicBezTo>
                  <a:cubicBezTo>
                    <a:pt x="68" y="63"/>
                    <a:pt x="68" y="62"/>
                    <a:pt x="68" y="61"/>
                  </a:cubicBezTo>
                  <a:lnTo>
                    <a:pt x="51" y="7"/>
                  </a:lnTo>
                  <a:cubicBezTo>
                    <a:pt x="51" y="5"/>
                    <a:pt x="50" y="4"/>
                    <a:pt x="49" y="3"/>
                  </a:cubicBezTo>
                  <a:cubicBezTo>
                    <a:pt x="49" y="2"/>
                    <a:pt x="48" y="1"/>
                    <a:pt x="47" y="1"/>
                  </a:cubicBezTo>
                  <a:cubicBezTo>
                    <a:pt x="46" y="0"/>
                    <a:pt x="45" y="0"/>
                    <a:pt x="44" y="0"/>
                  </a:cubicBezTo>
                  <a:cubicBezTo>
                    <a:pt x="43" y="0"/>
                    <a:pt x="42" y="0"/>
                    <a:pt x="42" y="0"/>
                  </a:cubicBezTo>
                  <a:lnTo>
                    <a:pt x="42"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 name="Freeform 333">
              <a:extLst>
                <a:ext uri="{FF2B5EF4-FFF2-40B4-BE49-F238E27FC236}">
                  <a16:creationId xmlns:a16="http://schemas.microsoft.com/office/drawing/2014/main" id="{CAD07544-E97D-4246-85B5-43F38B40AFCB}"/>
                </a:ext>
              </a:extLst>
            </p:cNvPr>
            <p:cNvSpPr>
              <a:spLocks/>
            </p:cNvSpPr>
            <p:nvPr/>
          </p:nvSpPr>
          <p:spPr bwMode="auto">
            <a:xfrm>
              <a:off x="4129088" y="2754313"/>
              <a:ext cx="60325" cy="76200"/>
            </a:xfrm>
            <a:custGeom>
              <a:avLst/>
              <a:gdLst>
                <a:gd name="T0" fmla="*/ 48 w 79"/>
                <a:gd name="T1" fmla="*/ 1 h 100"/>
                <a:gd name="T2" fmla="*/ 5 w 79"/>
                <a:gd name="T3" fmla="*/ 27 h 100"/>
                <a:gd name="T4" fmla="*/ 2 w 79"/>
                <a:gd name="T5" fmla="*/ 29 h 100"/>
                <a:gd name="T6" fmla="*/ 1 w 79"/>
                <a:gd name="T7" fmla="*/ 32 h 100"/>
                <a:gd name="T8" fmla="*/ 0 w 79"/>
                <a:gd name="T9" fmla="*/ 36 h 100"/>
                <a:gd name="T10" fmla="*/ 1 w 79"/>
                <a:gd name="T11" fmla="*/ 40 h 100"/>
                <a:gd name="T12" fmla="*/ 19 w 79"/>
                <a:gd name="T13" fmla="*/ 94 h 100"/>
                <a:gd name="T14" fmla="*/ 21 w 79"/>
                <a:gd name="T15" fmla="*/ 97 h 100"/>
                <a:gd name="T16" fmla="*/ 24 w 79"/>
                <a:gd name="T17" fmla="*/ 99 h 100"/>
                <a:gd name="T18" fmla="*/ 27 w 79"/>
                <a:gd name="T19" fmla="*/ 100 h 100"/>
                <a:gd name="T20" fmla="*/ 30 w 79"/>
                <a:gd name="T21" fmla="*/ 99 h 100"/>
                <a:gd name="T22" fmla="*/ 74 w 79"/>
                <a:gd name="T23" fmla="*/ 75 h 100"/>
                <a:gd name="T24" fmla="*/ 77 w 79"/>
                <a:gd name="T25" fmla="*/ 73 h 100"/>
                <a:gd name="T26" fmla="*/ 78 w 79"/>
                <a:gd name="T27" fmla="*/ 69 h 100"/>
                <a:gd name="T28" fmla="*/ 79 w 79"/>
                <a:gd name="T29" fmla="*/ 65 h 100"/>
                <a:gd name="T30" fmla="*/ 78 w 79"/>
                <a:gd name="T31" fmla="*/ 61 h 100"/>
                <a:gd name="T32" fmla="*/ 59 w 79"/>
                <a:gd name="T33" fmla="*/ 6 h 100"/>
                <a:gd name="T34" fmla="*/ 57 w 79"/>
                <a:gd name="T35" fmla="*/ 3 h 100"/>
                <a:gd name="T36" fmla="*/ 54 w 79"/>
                <a:gd name="T37" fmla="*/ 1 h 100"/>
                <a:gd name="T38" fmla="*/ 51 w 79"/>
                <a:gd name="T39" fmla="*/ 0 h 100"/>
                <a:gd name="T40" fmla="*/ 48 w 79"/>
                <a:gd name="T41" fmla="*/ 1 h 100"/>
                <a:gd name="T42" fmla="*/ 48 w 79"/>
                <a:gd name="T43" fmla="*/ 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9" h="100">
                  <a:moveTo>
                    <a:pt x="48" y="1"/>
                  </a:moveTo>
                  <a:lnTo>
                    <a:pt x="5" y="27"/>
                  </a:lnTo>
                  <a:cubicBezTo>
                    <a:pt x="4" y="27"/>
                    <a:pt x="3" y="28"/>
                    <a:pt x="2" y="29"/>
                  </a:cubicBezTo>
                  <a:cubicBezTo>
                    <a:pt x="2" y="30"/>
                    <a:pt x="1" y="31"/>
                    <a:pt x="1" y="32"/>
                  </a:cubicBezTo>
                  <a:cubicBezTo>
                    <a:pt x="0" y="34"/>
                    <a:pt x="0" y="35"/>
                    <a:pt x="0" y="36"/>
                  </a:cubicBezTo>
                  <a:cubicBezTo>
                    <a:pt x="0" y="38"/>
                    <a:pt x="0" y="39"/>
                    <a:pt x="1" y="40"/>
                  </a:cubicBezTo>
                  <a:lnTo>
                    <a:pt x="19" y="94"/>
                  </a:lnTo>
                  <a:cubicBezTo>
                    <a:pt x="20" y="95"/>
                    <a:pt x="20" y="96"/>
                    <a:pt x="21" y="97"/>
                  </a:cubicBezTo>
                  <a:cubicBezTo>
                    <a:pt x="22" y="98"/>
                    <a:pt x="23" y="99"/>
                    <a:pt x="24" y="99"/>
                  </a:cubicBezTo>
                  <a:cubicBezTo>
                    <a:pt x="25" y="100"/>
                    <a:pt x="26" y="100"/>
                    <a:pt x="27" y="100"/>
                  </a:cubicBezTo>
                  <a:cubicBezTo>
                    <a:pt x="28" y="100"/>
                    <a:pt x="29" y="100"/>
                    <a:pt x="30" y="99"/>
                  </a:cubicBezTo>
                  <a:lnTo>
                    <a:pt x="74" y="75"/>
                  </a:lnTo>
                  <a:cubicBezTo>
                    <a:pt x="75" y="75"/>
                    <a:pt x="76" y="74"/>
                    <a:pt x="77" y="73"/>
                  </a:cubicBezTo>
                  <a:cubicBezTo>
                    <a:pt x="77" y="72"/>
                    <a:pt x="78" y="71"/>
                    <a:pt x="78" y="69"/>
                  </a:cubicBezTo>
                  <a:cubicBezTo>
                    <a:pt x="79" y="68"/>
                    <a:pt x="79" y="67"/>
                    <a:pt x="79" y="65"/>
                  </a:cubicBezTo>
                  <a:cubicBezTo>
                    <a:pt x="79" y="64"/>
                    <a:pt x="79" y="63"/>
                    <a:pt x="78" y="61"/>
                  </a:cubicBezTo>
                  <a:lnTo>
                    <a:pt x="59" y="6"/>
                  </a:lnTo>
                  <a:cubicBezTo>
                    <a:pt x="59" y="5"/>
                    <a:pt x="58" y="4"/>
                    <a:pt x="57" y="3"/>
                  </a:cubicBezTo>
                  <a:cubicBezTo>
                    <a:pt x="56" y="2"/>
                    <a:pt x="55" y="1"/>
                    <a:pt x="54" y="1"/>
                  </a:cubicBezTo>
                  <a:cubicBezTo>
                    <a:pt x="54" y="0"/>
                    <a:pt x="52" y="0"/>
                    <a:pt x="51" y="0"/>
                  </a:cubicBezTo>
                  <a:cubicBezTo>
                    <a:pt x="50" y="0"/>
                    <a:pt x="49" y="1"/>
                    <a:pt x="48" y="1"/>
                  </a:cubicBezTo>
                  <a:lnTo>
                    <a:pt x="48" y="1"/>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 name="Freeform 334">
              <a:extLst>
                <a:ext uri="{FF2B5EF4-FFF2-40B4-BE49-F238E27FC236}">
                  <a16:creationId xmlns:a16="http://schemas.microsoft.com/office/drawing/2014/main" id="{F3DFD22B-9CEA-443D-B096-52C43E65F857}"/>
                </a:ext>
              </a:extLst>
            </p:cNvPr>
            <p:cNvSpPr>
              <a:spLocks/>
            </p:cNvSpPr>
            <p:nvPr/>
          </p:nvSpPr>
          <p:spPr bwMode="auto">
            <a:xfrm>
              <a:off x="4105276" y="2835276"/>
              <a:ext cx="58738" cy="74613"/>
            </a:xfrm>
            <a:custGeom>
              <a:avLst/>
              <a:gdLst>
                <a:gd name="T0" fmla="*/ 47 w 77"/>
                <a:gd name="T1" fmla="*/ 1 h 97"/>
                <a:gd name="T2" fmla="*/ 5 w 77"/>
                <a:gd name="T3" fmla="*/ 23 h 97"/>
                <a:gd name="T4" fmla="*/ 3 w 77"/>
                <a:gd name="T5" fmla="*/ 26 h 97"/>
                <a:gd name="T6" fmla="*/ 1 w 77"/>
                <a:gd name="T7" fmla="*/ 29 h 97"/>
                <a:gd name="T8" fmla="*/ 0 w 77"/>
                <a:gd name="T9" fmla="*/ 33 h 97"/>
                <a:gd name="T10" fmla="*/ 1 w 77"/>
                <a:gd name="T11" fmla="*/ 36 h 97"/>
                <a:gd name="T12" fmla="*/ 19 w 77"/>
                <a:gd name="T13" fmla="*/ 91 h 97"/>
                <a:gd name="T14" fmla="*/ 20 w 77"/>
                <a:gd name="T15" fmla="*/ 94 h 97"/>
                <a:gd name="T16" fmla="*/ 23 w 77"/>
                <a:gd name="T17" fmla="*/ 96 h 97"/>
                <a:gd name="T18" fmla="*/ 26 w 77"/>
                <a:gd name="T19" fmla="*/ 97 h 97"/>
                <a:gd name="T20" fmla="*/ 29 w 77"/>
                <a:gd name="T21" fmla="*/ 96 h 97"/>
                <a:gd name="T22" fmla="*/ 72 w 77"/>
                <a:gd name="T23" fmla="*/ 75 h 97"/>
                <a:gd name="T24" fmla="*/ 74 w 77"/>
                <a:gd name="T25" fmla="*/ 72 h 97"/>
                <a:gd name="T26" fmla="*/ 76 w 77"/>
                <a:gd name="T27" fmla="*/ 69 h 97"/>
                <a:gd name="T28" fmla="*/ 77 w 77"/>
                <a:gd name="T29" fmla="*/ 65 h 97"/>
                <a:gd name="T30" fmla="*/ 76 w 77"/>
                <a:gd name="T31" fmla="*/ 61 h 97"/>
                <a:gd name="T32" fmla="*/ 57 w 77"/>
                <a:gd name="T33" fmla="*/ 6 h 97"/>
                <a:gd name="T34" fmla="*/ 56 w 77"/>
                <a:gd name="T35" fmla="*/ 3 h 97"/>
                <a:gd name="T36" fmla="*/ 53 w 77"/>
                <a:gd name="T37" fmla="*/ 0 h 97"/>
                <a:gd name="T38" fmla="*/ 50 w 77"/>
                <a:gd name="T39" fmla="*/ 0 h 97"/>
                <a:gd name="T40" fmla="*/ 47 w 77"/>
                <a:gd name="T41" fmla="*/ 1 h 97"/>
                <a:gd name="T42" fmla="*/ 47 w 77"/>
                <a:gd name="T43" fmla="*/ 1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7" h="97">
                  <a:moveTo>
                    <a:pt x="47" y="1"/>
                  </a:moveTo>
                  <a:lnTo>
                    <a:pt x="5" y="23"/>
                  </a:lnTo>
                  <a:cubicBezTo>
                    <a:pt x="4" y="24"/>
                    <a:pt x="3" y="25"/>
                    <a:pt x="3" y="26"/>
                  </a:cubicBezTo>
                  <a:cubicBezTo>
                    <a:pt x="2" y="27"/>
                    <a:pt x="1" y="28"/>
                    <a:pt x="1" y="29"/>
                  </a:cubicBezTo>
                  <a:cubicBezTo>
                    <a:pt x="1" y="30"/>
                    <a:pt x="0" y="31"/>
                    <a:pt x="0" y="33"/>
                  </a:cubicBezTo>
                  <a:cubicBezTo>
                    <a:pt x="0" y="34"/>
                    <a:pt x="1" y="35"/>
                    <a:pt x="1" y="36"/>
                  </a:cubicBezTo>
                  <a:lnTo>
                    <a:pt x="19" y="91"/>
                  </a:lnTo>
                  <a:cubicBezTo>
                    <a:pt x="19" y="92"/>
                    <a:pt x="20" y="93"/>
                    <a:pt x="20" y="94"/>
                  </a:cubicBezTo>
                  <a:cubicBezTo>
                    <a:pt x="21" y="95"/>
                    <a:pt x="22" y="96"/>
                    <a:pt x="23" y="96"/>
                  </a:cubicBezTo>
                  <a:cubicBezTo>
                    <a:pt x="24" y="97"/>
                    <a:pt x="25" y="97"/>
                    <a:pt x="26" y="97"/>
                  </a:cubicBezTo>
                  <a:cubicBezTo>
                    <a:pt x="27" y="97"/>
                    <a:pt x="28" y="97"/>
                    <a:pt x="29" y="96"/>
                  </a:cubicBezTo>
                  <a:lnTo>
                    <a:pt x="72" y="75"/>
                  </a:lnTo>
                  <a:cubicBezTo>
                    <a:pt x="73" y="74"/>
                    <a:pt x="74" y="73"/>
                    <a:pt x="74" y="72"/>
                  </a:cubicBezTo>
                  <a:cubicBezTo>
                    <a:pt x="75" y="71"/>
                    <a:pt x="76" y="70"/>
                    <a:pt x="76" y="69"/>
                  </a:cubicBezTo>
                  <a:cubicBezTo>
                    <a:pt x="77" y="68"/>
                    <a:pt x="77" y="66"/>
                    <a:pt x="77" y="65"/>
                  </a:cubicBezTo>
                  <a:cubicBezTo>
                    <a:pt x="77" y="64"/>
                    <a:pt x="77" y="62"/>
                    <a:pt x="76" y="61"/>
                  </a:cubicBezTo>
                  <a:lnTo>
                    <a:pt x="57" y="6"/>
                  </a:lnTo>
                  <a:cubicBezTo>
                    <a:pt x="57" y="5"/>
                    <a:pt x="56" y="3"/>
                    <a:pt x="56" y="3"/>
                  </a:cubicBezTo>
                  <a:cubicBezTo>
                    <a:pt x="55" y="2"/>
                    <a:pt x="54" y="1"/>
                    <a:pt x="53" y="0"/>
                  </a:cubicBezTo>
                  <a:cubicBezTo>
                    <a:pt x="52" y="0"/>
                    <a:pt x="51" y="0"/>
                    <a:pt x="50" y="0"/>
                  </a:cubicBezTo>
                  <a:cubicBezTo>
                    <a:pt x="49" y="0"/>
                    <a:pt x="48" y="0"/>
                    <a:pt x="47" y="1"/>
                  </a:cubicBezTo>
                  <a:lnTo>
                    <a:pt x="47" y="1"/>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 name="Freeform 335">
              <a:extLst>
                <a:ext uri="{FF2B5EF4-FFF2-40B4-BE49-F238E27FC236}">
                  <a16:creationId xmlns:a16="http://schemas.microsoft.com/office/drawing/2014/main" id="{BB946FAE-66A8-4177-959E-7B6F953933A0}"/>
                </a:ext>
              </a:extLst>
            </p:cNvPr>
            <p:cNvSpPr>
              <a:spLocks/>
            </p:cNvSpPr>
            <p:nvPr/>
          </p:nvSpPr>
          <p:spPr bwMode="auto">
            <a:xfrm>
              <a:off x="4098926" y="2970213"/>
              <a:ext cx="58738" cy="73025"/>
            </a:xfrm>
            <a:custGeom>
              <a:avLst/>
              <a:gdLst>
                <a:gd name="T0" fmla="*/ 46 w 76"/>
                <a:gd name="T1" fmla="*/ 1 h 95"/>
                <a:gd name="T2" fmla="*/ 4 w 76"/>
                <a:gd name="T3" fmla="*/ 20 h 95"/>
                <a:gd name="T4" fmla="*/ 2 w 76"/>
                <a:gd name="T5" fmla="*/ 22 h 95"/>
                <a:gd name="T6" fmla="*/ 0 w 76"/>
                <a:gd name="T7" fmla="*/ 25 h 95"/>
                <a:gd name="T8" fmla="*/ 0 w 76"/>
                <a:gd name="T9" fmla="*/ 29 h 95"/>
                <a:gd name="T10" fmla="*/ 0 w 76"/>
                <a:gd name="T11" fmla="*/ 33 h 95"/>
                <a:gd name="T12" fmla="*/ 18 w 76"/>
                <a:gd name="T13" fmla="*/ 88 h 95"/>
                <a:gd name="T14" fmla="*/ 20 w 76"/>
                <a:gd name="T15" fmla="*/ 92 h 95"/>
                <a:gd name="T16" fmla="*/ 22 w 76"/>
                <a:gd name="T17" fmla="*/ 94 h 95"/>
                <a:gd name="T18" fmla="*/ 25 w 76"/>
                <a:gd name="T19" fmla="*/ 95 h 95"/>
                <a:gd name="T20" fmla="*/ 28 w 76"/>
                <a:gd name="T21" fmla="*/ 95 h 95"/>
                <a:gd name="T22" fmla="*/ 71 w 76"/>
                <a:gd name="T23" fmla="*/ 77 h 95"/>
                <a:gd name="T24" fmla="*/ 73 w 76"/>
                <a:gd name="T25" fmla="*/ 75 h 95"/>
                <a:gd name="T26" fmla="*/ 75 w 76"/>
                <a:gd name="T27" fmla="*/ 72 h 95"/>
                <a:gd name="T28" fmla="*/ 75 w 76"/>
                <a:gd name="T29" fmla="*/ 68 h 95"/>
                <a:gd name="T30" fmla="*/ 75 w 76"/>
                <a:gd name="T31" fmla="*/ 64 h 95"/>
                <a:gd name="T32" fmla="*/ 56 w 76"/>
                <a:gd name="T33" fmla="*/ 7 h 95"/>
                <a:gd name="T34" fmla="*/ 54 w 76"/>
                <a:gd name="T35" fmla="*/ 4 h 95"/>
                <a:gd name="T36" fmla="*/ 52 w 76"/>
                <a:gd name="T37" fmla="*/ 1 h 95"/>
                <a:gd name="T38" fmla="*/ 49 w 76"/>
                <a:gd name="T39" fmla="*/ 0 h 95"/>
                <a:gd name="T40" fmla="*/ 46 w 76"/>
                <a:gd name="T41" fmla="*/ 1 h 95"/>
                <a:gd name="T42" fmla="*/ 46 w 76"/>
                <a:gd name="T43" fmla="*/ 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6" h="95">
                  <a:moveTo>
                    <a:pt x="46" y="1"/>
                  </a:moveTo>
                  <a:lnTo>
                    <a:pt x="4" y="20"/>
                  </a:lnTo>
                  <a:cubicBezTo>
                    <a:pt x="3" y="21"/>
                    <a:pt x="2" y="21"/>
                    <a:pt x="2" y="22"/>
                  </a:cubicBezTo>
                  <a:cubicBezTo>
                    <a:pt x="1" y="23"/>
                    <a:pt x="1" y="24"/>
                    <a:pt x="0" y="25"/>
                  </a:cubicBezTo>
                  <a:cubicBezTo>
                    <a:pt x="0" y="26"/>
                    <a:pt x="0" y="28"/>
                    <a:pt x="0" y="29"/>
                  </a:cubicBezTo>
                  <a:cubicBezTo>
                    <a:pt x="0" y="30"/>
                    <a:pt x="0" y="32"/>
                    <a:pt x="0" y="33"/>
                  </a:cubicBezTo>
                  <a:lnTo>
                    <a:pt x="18" y="88"/>
                  </a:lnTo>
                  <a:cubicBezTo>
                    <a:pt x="18" y="90"/>
                    <a:pt x="19" y="91"/>
                    <a:pt x="20" y="92"/>
                  </a:cubicBezTo>
                  <a:cubicBezTo>
                    <a:pt x="20" y="93"/>
                    <a:pt x="21" y="94"/>
                    <a:pt x="22" y="94"/>
                  </a:cubicBezTo>
                  <a:cubicBezTo>
                    <a:pt x="23" y="95"/>
                    <a:pt x="24" y="95"/>
                    <a:pt x="25" y="95"/>
                  </a:cubicBezTo>
                  <a:cubicBezTo>
                    <a:pt x="26" y="95"/>
                    <a:pt x="27" y="95"/>
                    <a:pt x="28" y="95"/>
                  </a:cubicBezTo>
                  <a:lnTo>
                    <a:pt x="71" y="77"/>
                  </a:lnTo>
                  <a:cubicBezTo>
                    <a:pt x="72" y="76"/>
                    <a:pt x="72" y="76"/>
                    <a:pt x="73" y="75"/>
                  </a:cubicBezTo>
                  <a:cubicBezTo>
                    <a:pt x="74" y="74"/>
                    <a:pt x="75" y="73"/>
                    <a:pt x="75" y="72"/>
                  </a:cubicBezTo>
                  <a:cubicBezTo>
                    <a:pt x="75" y="70"/>
                    <a:pt x="76" y="69"/>
                    <a:pt x="75" y="68"/>
                  </a:cubicBezTo>
                  <a:cubicBezTo>
                    <a:pt x="75" y="66"/>
                    <a:pt x="75" y="65"/>
                    <a:pt x="75" y="64"/>
                  </a:cubicBezTo>
                  <a:lnTo>
                    <a:pt x="56" y="7"/>
                  </a:lnTo>
                  <a:cubicBezTo>
                    <a:pt x="56" y="6"/>
                    <a:pt x="55" y="5"/>
                    <a:pt x="54" y="4"/>
                  </a:cubicBezTo>
                  <a:cubicBezTo>
                    <a:pt x="54" y="3"/>
                    <a:pt x="53" y="2"/>
                    <a:pt x="52" y="1"/>
                  </a:cubicBezTo>
                  <a:cubicBezTo>
                    <a:pt x="51" y="1"/>
                    <a:pt x="50" y="0"/>
                    <a:pt x="49" y="0"/>
                  </a:cubicBezTo>
                  <a:cubicBezTo>
                    <a:pt x="48" y="0"/>
                    <a:pt x="47" y="0"/>
                    <a:pt x="46" y="1"/>
                  </a:cubicBezTo>
                  <a:lnTo>
                    <a:pt x="46" y="1"/>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Freeform 336">
              <a:extLst>
                <a:ext uri="{FF2B5EF4-FFF2-40B4-BE49-F238E27FC236}">
                  <a16:creationId xmlns:a16="http://schemas.microsoft.com/office/drawing/2014/main" id="{5476C6F8-96D2-4F3B-B031-0394852A7584}"/>
                </a:ext>
              </a:extLst>
            </p:cNvPr>
            <p:cNvSpPr>
              <a:spLocks noEditPoints="1"/>
            </p:cNvSpPr>
            <p:nvPr/>
          </p:nvSpPr>
          <p:spPr bwMode="auto">
            <a:xfrm>
              <a:off x="4160838" y="2471738"/>
              <a:ext cx="665163" cy="611188"/>
            </a:xfrm>
            <a:custGeom>
              <a:avLst/>
              <a:gdLst>
                <a:gd name="T0" fmla="*/ 632 w 872"/>
                <a:gd name="T1" fmla="*/ 67 h 802"/>
                <a:gd name="T2" fmla="*/ 492 w 872"/>
                <a:gd name="T3" fmla="*/ 389 h 802"/>
                <a:gd name="T4" fmla="*/ 389 w 872"/>
                <a:gd name="T5" fmla="*/ 458 h 802"/>
                <a:gd name="T6" fmla="*/ 430 w 872"/>
                <a:gd name="T7" fmla="*/ 473 h 802"/>
                <a:gd name="T8" fmla="*/ 442 w 872"/>
                <a:gd name="T9" fmla="*/ 473 h 802"/>
                <a:gd name="T10" fmla="*/ 454 w 872"/>
                <a:gd name="T11" fmla="*/ 468 h 802"/>
                <a:gd name="T12" fmla="*/ 462 w 872"/>
                <a:gd name="T13" fmla="*/ 458 h 802"/>
                <a:gd name="T14" fmla="*/ 481 w 872"/>
                <a:gd name="T15" fmla="*/ 415 h 802"/>
                <a:gd name="T16" fmla="*/ 253 w 872"/>
                <a:gd name="T17" fmla="*/ 678 h 802"/>
                <a:gd name="T18" fmla="*/ 136 w 872"/>
                <a:gd name="T19" fmla="*/ 366 h 802"/>
                <a:gd name="T20" fmla="*/ 242 w 872"/>
                <a:gd name="T21" fmla="*/ 648 h 802"/>
                <a:gd name="T22" fmla="*/ 183 w 872"/>
                <a:gd name="T23" fmla="*/ 646 h 802"/>
                <a:gd name="T24" fmla="*/ 130 w 872"/>
                <a:gd name="T25" fmla="*/ 670 h 802"/>
                <a:gd name="T26" fmla="*/ 123 w 872"/>
                <a:gd name="T27" fmla="*/ 670 h 802"/>
                <a:gd name="T28" fmla="*/ 118 w 872"/>
                <a:gd name="T29" fmla="*/ 664 h 802"/>
                <a:gd name="T30" fmla="*/ 118 w 872"/>
                <a:gd name="T31" fmla="*/ 663 h 802"/>
                <a:gd name="T32" fmla="*/ 97 w 872"/>
                <a:gd name="T33" fmla="*/ 603 h 802"/>
                <a:gd name="T34" fmla="*/ 97 w 872"/>
                <a:gd name="T35" fmla="*/ 595 h 802"/>
                <a:gd name="T36" fmla="*/ 102 w 872"/>
                <a:gd name="T37" fmla="*/ 590 h 802"/>
                <a:gd name="T38" fmla="*/ 154 w 872"/>
                <a:gd name="T39" fmla="*/ 566 h 802"/>
                <a:gd name="T40" fmla="*/ 161 w 872"/>
                <a:gd name="T41" fmla="*/ 570 h 802"/>
                <a:gd name="T42" fmla="*/ 185 w 872"/>
                <a:gd name="T43" fmla="*/ 634 h 802"/>
                <a:gd name="T44" fmla="*/ 185 w 872"/>
                <a:gd name="T45" fmla="*/ 643 h 802"/>
                <a:gd name="T46" fmla="*/ 447 w 872"/>
                <a:gd name="T47" fmla="*/ 429 h 802"/>
                <a:gd name="T48" fmla="*/ 444 w 872"/>
                <a:gd name="T49" fmla="*/ 435 h 802"/>
                <a:gd name="T50" fmla="*/ 437 w 872"/>
                <a:gd name="T51" fmla="*/ 443 h 802"/>
                <a:gd name="T52" fmla="*/ 426 w 872"/>
                <a:gd name="T53" fmla="*/ 443 h 802"/>
                <a:gd name="T54" fmla="*/ 420 w 872"/>
                <a:gd name="T55" fmla="*/ 441 h 802"/>
                <a:gd name="T56" fmla="*/ 605 w 872"/>
                <a:gd name="T57" fmla="*/ 62 h 802"/>
                <a:gd name="T58" fmla="*/ 651 w 872"/>
                <a:gd name="T59" fmla="*/ 6 h 802"/>
                <a:gd name="T60" fmla="*/ 644 w 872"/>
                <a:gd name="T61" fmla="*/ 0 h 802"/>
                <a:gd name="T62" fmla="*/ 633 w 872"/>
                <a:gd name="T63" fmla="*/ 2 h 802"/>
                <a:gd name="T64" fmla="*/ 80 w 872"/>
                <a:gd name="T65" fmla="*/ 328 h 802"/>
                <a:gd name="T66" fmla="*/ 78 w 872"/>
                <a:gd name="T67" fmla="*/ 335 h 802"/>
                <a:gd name="T68" fmla="*/ 100 w 872"/>
                <a:gd name="T69" fmla="*/ 400 h 802"/>
                <a:gd name="T70" fmla="*/ 99 w 872"/>
                <a:gd name="T71" fmla="*/ 405 h 802"/>
                <a:gd name="T72" fmla="*/ 94 w 872"/>
                <a:gd name="T73" fmla="*/ 410 h 802"/>
                <a:gd name="T74" fmla="*/ 45 w 872"/>
                <a:gd name="T75" fmla="*/ 438 h 802"/>
                <a:gd name="T76" fmla="*/ 42 w 872"/>
                <a:gd name="T77" fmla="*/ 446 h 802"/>
                <a:gd name="T78" fmla="*/ 63 w 872"/>
                <a:gd name="T79" fmla="*/ 506 h 802"/>
                <a:gd name="T80" fmla="*/ 63 w 872"/>
                <a:gd name="T81" fmla="*/ 514 h 802"/>
                <a:gd name="T82" fmla="*/ 58 w 872"/>
                <a:gd name="T83" fmla="*/ 520 h 802"/>
                <a:gd name="T84" fmla="*/ 10 w 872"/>
                <a:gd name="T85" fmla="*/ 545 h 802"/>
                <a:gd name="T86" fmla="*/ 8 w 872"/>
                <a:gd name="T87" fmla="*/ 552 h 802"/>
                <a:gd name="T88" fmla="*/ 21 w 872"/>
                <a:gd name="T89" fmla="*/ 594 h 802"/>
                <a:gd name="T90" fmla="*/ 54 w 872"/>
                <a:gd name="T91" fmla="*/ 691 h 802"/>
                <a:gd name="T92" fmla="*/ 54 w 872"/>
                <a:gd name="T93" fmla="*/ 699 h 802"/>
                <a:gd name="T94" fmla="*/ 49 w 872"/>
                <a:gd name="T95" fmla="*/ 704 h 802"/>
                <a:gd name="T96" fmla="*/ 2 w 872"/>
                <a:gd name="T97" fmla="*/ 725 h 802"/>
                <a:gd name="T98" fmla="*/ 0 w 872"/>
                <a:gd name="T99" fmla="*/ 732 h 802"/>
                <a:gd name="T100" fmla="*/ 19 w 872"/>
                <a:gd name="T101" fmla="*/ 794 h 802"/>
                <a:gd name="T102" fmla="*/ 24 w 872"/>
                <a:gd name="T103" fmla="*/ 801 h 802"/>
                <a:gd name="T104" fmla="*/ 30 w 872"/>
                <a:gd name="T105" fmla="*/ 802 h 802"/>
                <a:gd name="T106" fmla="*/ 76 w 872"/>
                <a:gd name="T107" fmla="*/ 784 h 802"/>
                <a:gd name="T108" fmla="*/ 141 w 872"/>
                <a:gd name="T109" fmla="*/ 759 h 802"/>
                <a:gd name="T110" fmla="*/ 152 w 872"/>
                <a:gd name="T111" fmla="*/ 755 h 802"/>
                <a:gd name="T112" fmla="*/ 159 w 872"/>
                <a:gd name="T113" fmla="*/ 752 h 802"/>
                <a:gd name="T114" fmla="*/ 251 w 872"/>
                <a:gd name="T115" fmla="*/ 717 h 802"/>
                <a:gd name="T116" fmla="*/ 867 w 872"/>
                <a:gd name="T117" fmla="*/ 477 h 802"/>
                <a:gd name="T118" fmla="*/ 872 w 872"/>
                <a:gd name="T119" fmla="*/ 467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2" h="802">
                  <a:moveTo>
                    <a:pt x="492" y="389"/>
                  </a:moveTo>
                  <a:lnTo>
                    <a:pt x="632" y="67"/>
                  </a:lnTo>
                  <a:lnTo>
                    <a:pt x="807" y="436"/>
                  </a:lnTo>
                  <a:lnTo>
                    <a:pt x="492" y="389"/>
                  </a:lnTo>
                  <a:close/>
                  <a:moveTo>
                    <a:pt x="253" y="678"/>
                  </a:moveTo>
                  <a:lnTo>
                    <a:pt x="389" y="458"/>
                  </a:lnTo>
                  <a:lnTo>
                    <a:pt x="428" y="472"/>
                  </a:lnTo>
                  <a:cubicBezTo>
                    <a:pt x="428" y="472"/>
                    <a:pt x="429" y="472"/>
                    <a:pt x="430" y="473"/>
                  </a:cubicBezTo>
                  <a:cubicBezTo>
                    <a:pt x="432" y="473"/>
                    <a:pt x="433" y="473"/>
                    <a:pt x="435" y="473"/>
                  </a:cubicBezTo>
                  <a:cubicBezTo>
                    <a:pt x="437" y="473"/>
                    <a:pt x="440" y="474"/>
                    <a:pt x="442" y="473"/>
                  </a:cubicBezTo>
                  <a:cubicBezTo>
                    <a:pt x="444" y="473"/>
                    <a:pt x="447" y="473"/>
                    <a:pt x="449" y="472"/>
                  </a:cubicBezTo>
                  <a:cubicBezTo>
                    <a:pt x="451" y="471"/>
                    <a:pt x="453" y="469"/>
                    <a:pt x="454" y="468"/>
                  </a:cubicBezTo>
                  <a:cubicBezTo>
                    <a:pt x="456" y="466"/>
                    <a:pt x="458" y="464"/>
                    <a:pt x="459" y="463"/>
                  </a:cubicBezTo>
                  <a:cubicBezTo>
                    <a:pt x="460" y="461"/>
                    <a:pt x="461" y="459"/>
                    <a:pt x="462" y="458"/>
                  </a:cubicBezTo>
                  <a:cubicBezTo>
                    <a:pt x="462" y="457"/>
                    <a:pt x="463" y="456"/>
                    <a:pt x="463" y="456"/>
                  </a:cubicBezTo>
                  <a:lnTo>
                    <a:pt x="481" y="415"/>
                  </a:lnTo>
                  <a:lnTo>
                    <a:pt x="787" y="463"/>
                  </a:lnTo>
                  <a:lnTo>
                    <a:pt x="253" y="678"/>
                  </a:lnTo>
                  <a:close/>
                  <a:moveTo>
                    <a:pt x="242" y="648"/>
                  </a:moveTo>
                  <a:cubicBezTo>
                    <a:pt x="241" y="649"/>
                    <a:pt x="136" y="366"/>
                    <a:pt x="136" y="366"/>
                  </a:cubicBezTo>
                  <a:lnTo>
                    <a:pt x="361" y="450"/>
                  </a:lnTo>
                  <a:cubicBezTo>
                    <a:pt x="361" y="450"/>
                    <a:pt x="243" y="647"/>
                    <a:pt x="242" y="648"/>
                  </a:cubicBezTo>
                  <a:close/>
                  <a:moveTo>
                    <a:pt x="185" y="643"/>
                  </a:moveTo>
                  <a:cubicBezTo>
                    <a:pt x="185" y="644"/>
                    <a:pt x="184" y="645"/>
                    <a:pt x="183" y="646"/>
                  </a:cubicBezTo>
                  <a:cubicBezTo>
                    <a:pt x="182" y="647"/>
                    <a:pt x="181" y="648"/>
                    <a:pt x="180" y="649"/>
                  </a:cubicBezTo>
                  <a:lnTo>
                    <a:pt x="130" y="670"/>
                  </a:lnTo>
                  <a:cubicBezTo>
                    <a:pt x="129" y="670"/>
                    <a:pt x="127" y="671"/>
                    <a:pt x="126" y="671"/>
                  </a:cubicBezTo>
                  <a:cubicBezTo>
                    <a:pt x="125" y="671"/>
                    <a:pt x="124" y="671"/>
                    <a:pt x="123" y="670"/>
                  </a:cubicBezTo>
                  <a:cubicBezTo>
                    <a:pt x="122" y="670"/>
                    <a:pt x="121" y="669"/>
                    <a:pt x="120" y="668"/>
                  </a:cubicBezTo>
                  <a:cubicBezTo>
                    <a:pt x="119" y="667"/>
                    <a:pt x="119" y="666"/>
                    <a:pt x="118" y="664"/>
                  </a:cubicBezTo>
                  <a:lnTo>
                    <a:pt x="118" y="665"/>
                  </a:lnTo>
                  <a:lnTo>
                    <a:pt x="118" y="663"/>
                  </a:lnTo>
                  <a:lnTo>
                    <a:pt x="97" y="604"/>
                  </a:lnTo>
                  <a:lnTo>
                    <a:pt x="97" y="603"/>
                  </a:lnTo>
                  <a:cubicBezTo>
                    <a:pt x="96" y="601"/>
                    <a:pt x="96" y="600"/>
                    <a:pt x="96" y="599"/>
                  </a:cubicBezTo>
                  <a:cubicBezTo>
                    <a:pt x="96" y="597"/>
                    <a:pt x="97" y="596"/>
                    <a:pt x="97" y="595"/>
                  </a:cubicBezTo>
                  <a:cubicBezTo>
                    <a:pt x="97" y="594"/>
                    <a:pt x="98" y="593"/>
                    <a:pt x="99" y="592"/>
                  </a:cubicBezTo>
                  <a:cubicBezTo>
                    <a:pt x="100" y="591"/>
                    <a:pt x="101" y="590"/>
                    <a:pt x="102" y="590"/>
                  </a:cubicBezTo>
                  <a:lnTo>
                    <a:pt x="151" y="567"/>
                  </a:lnTo>
                  <a:cubicBezTo>
                    <a:pt x="152" y="567"/>
                    <a:pt x="153" y="566"/>
                    <a:pt x="154" y="566"/>
                  </a:cubicBezTo>
                  <a:cubicBezTo>
                    <a:pt x="155" y="566"/>
                    <a:pt x="157" y="567"/>
                    <a:pt x="158" y="567"/>
                  </a:cubicBezTo>
                  <a:cubicBezTo>
                    <a:pt x="159" y="568"/>
                    <a:pt x="160" y="569"/>
                    <a:pt x="161" y="570"/>
                  </a:cubicBezTo>
                  <a:cubicBezTo>
                    <a:pt x="162" y="571"/>
                    <a:pt x="162" y="572"/>
                    <a:pt x="163" y="573"/>
                  </a:cubicBezTo>
                  <a:lnTo>
                    <a:pt x="185" y="634"/>
                  </a:lnTo>
                  <a:cubicBezTo>
                    <a:pt x="185" y="636"/>
                    <a:pt x="186" y="637"/>
                    <a:pt x="186" y="639"/>
                  </a:cubicBezTo>
                  <a:cubicBezTo>
                    <a:pt x="186" y="640"/>
                    <a:pt x="185" y="641"/>
                    <a:pt x="185" y="643"/>
                  </a:cubicBezTo>
                  <a:close/>
                  <a:moveTo>
                    <a:pt x="605" y="62"/>
                  </a:moveTo>
                  <a:lnTo>
                    <a:pt x="447" y="429"/>
                  </a:lnTo>
                  <a:cubicBezTo>
                    <a:pt x="447" y="429"/>
                    <a:pt x="446" y="430"/>
                    <a:pt x="446" y="431"/>
                  </a:cubicBezTo>
                  <a:cubicBezTo>
                    <a:pt x="445" y="432"/>
                    <a:pt x="445" y="434"/>
                    <a:pt x="444" y="435"/>
                  </a:cubicBezTo>
                  <a:cubicBezTo>
                    <a:pt x="443" y="437"/>
                    <a:pt x="442" y="438"/>
                    <a:pt x="440" y="440"/>
                  </a:cubicBezTo>
                  <a:cubicBezTo>
                    <a:pt x="439" y="441"/>
                    <a:pt x="438" y="442"/>
                    <a:pt x="437" y="443"/>
                  </a:cubicBezTo>
                  <a:cubicBezTo>
                    <a:pt x="435" y="443"/>
                    <a:pt x="433" y="444"/>
                    <a:pt x="432" y="444"/>
                  </a:cubicBezTo>
                  <a:cubicBezTo>
                    <a:pt x="430" y="444"/>
                    <a:pt x="428" y="443"/>
                    <a:pt x="426" y="443"/>
                  </a:cubicBezTo>
                  <a:cubicBezTo>
                    <a:pt x="424" y="443"/>
                    <a:pt x="423" y="442"/>
                    <a:pt x="422" y="442"/>
                  </a:cubicBezTo>
                  <a:cubicBezTo>
                    <a:pt x="421" y="442"/>
                    <a:pt x="420" y="441"/>
                    <a:pt x="420" y="441"/>
                  </a:cubicBezTo>
                  <a:lnTo>
                    <a:pt x="123" y="337"/>
                  </a:lnTo>
                  <a:lnTo>
                    <a:pt x="605" y="62"/>
                  </a:lnTo>
                  <a:close/>
                  <a:moveTo>
                    <a:pt x="871" y="461"/>
                  </a:moveTo>
                  <a:lnTo>
                    <a:pt x="651" y="6"/>
                  </a:lnTo>
                  <a:cubicBezTo>
                    <a:pt x="650" y="5"/>
                    <a:pt x="649" y="3"/>
                    <a:pt x="648" y="2"/>
                  </a:cubicBezTo>
                  <a:cubicBezTo>
                    <a:pt x="647" y="1"/>
                    <a:pt x="645" y="1"/>
                    <a:pt x="644" y="0"/>
                  </a:cubicBezTo>
                  <a:cubicBezTo>
                    <a:pt x="642" y="0"/>
                    <a:pt x="640" y="0"/>
                    <a:pt x="638" y="0"/>
                  </a:cubicBezTo>
                  <a:cubicBezTo>
                    <a:pt x="637" y="1"/>
                    <a:pt x="635" y="1"/>
                    <a:pt x="633" y="2"/>
                  </a:cubicBezTo>
                  <a:lnTo>
                    <a:pt x="83" y="325"/>
                  </a:lnTo>
                  <a:cubicBezTo>
                    <a:pt x="82" y="326"/>
                    <a:pt x="81" y="327"/>
                    <a:pt x="80" y="328"/>
                  </a:cubicBezTo>
                  <a:cubicBezTo>
                    <a:pt x="79" y="329"/>
                    <a:pt x="79" y="330"/>
                    <a:pt x="78" y="331"/>
                  </a:cubicBezTo>
                  <a:cubicBezTo>
                    <a:pt x="78" y="333"/>
                    <a:pt x="78" y="334"/>
                    <a:pt x="78" y="335"/>
                  </a:cubicBezTo>
                  <a:cubicBezTo>
                    <a:pt x="78" y="337"/>
                    <a:pt x="78" y="338"/>
                    <a:pt x="78" y="340"/>
                  </a:cubicBezTo>
                  <a:lnTo>
                    <a:pt x="100" y="400"/>
                  </a:lnTo>
                  <a:cubicBezTo>
                    <a:pt x="101" y="401"/>
                    <a:pt x="101" y="402"/>
                    <a:pt x="100" y="403"/>
                  </a:cubicBezTo>
                  <a:cubicBezTo>
                    <a:pt x="100" y="404"/>
                    <a:pt x="100" y="404"/>
                    <a:pt x="99" y="405"/>
                  </a:cubicBezTo>
                  <a:cubicBezTo>
                    <a:pt x="99" y="406"/>
                    <a:pt x="98" y="407"/>
                    <a:pt x="97" y="408"/>
                  </a:cubicBezTo>
                  <a:cubicBezTo>
                    <a:pt x="96" y="409"/>
                    <a:pt x="95" y="410"/>
                    <a:pt x="94" y="410"/>
                  </a:cubicBezTo>
                  <a:lnTo>
                    <a:pt x="48" y="436"/>
                  </a:lnTo>
                  <a:cubicBezTo>
                    <a:pt x="46" y="436"/>
                    <a:pt x="46" y="437"/>
                    <a:pt x="45" y="438"/>
                  </a:cubicBezTo>
                  <a:cubicBezTo>
                    <a:pt x="44" y="439"/>
                    <a:pt x="43" y="440"/>
                    <a:pt x="43" y="442"/>
                  </a:cubicBezTo>
                  <a:cubicBezTo>
                    <a:pt x="43" y="443"/>
                    <a:pt x="42" y="444"/>
                    <a:pt x="42" y="446"/>
                  </a:cubicBezTo>
                  <a:cubicBezTo>
                    <a:pt x="42" y="447"/>
                    <a:pt x="43" y="448"/>
                    <a:pt x="43" y="450"/>
                  </a:cubicBezTo>
                  <a:lnTo>
                    <a:pt x="63" y="506"/>
                  </a:lnTo>
                  <a:cubicBezTo>
                    <a:pt x="63" y="507"/>
                    <a:pt x="63" y="509"/>
                    <a:pt x="64" y="510"/>
                  </a:cubicBezTo>
                  <a:cubicBezTo>
                    <a:pt x="64" y="512"/>
                    <a:pt x="63" y="513"/>
                    <a:pt x="63" y="514"/>
                  </a:cubicBezTo>
                  <a:cubicBezTo>
                    <a:pt x="63" y="515"/>
                    <a:pt x="62" y="517"/>
                    <a:pt x="61" y="518"/>
                  </a:cubicBezTo>
                  <a:cubicBezTo>
                    <a:pt x="60" y="518"/>
                    <a:pt x="59" y="519"/>
                    <a:pt x="58" y="520"/>
                  </a:cubicBezTo>
                  <a:lnTo>
                    <a:pt x="13" y="543"/>
                  </a:lnTo>
                  <a:cubicBezTo>
                    <a:pt x="12" y="543"/>
                    <a:pt x="11" y="544"/>
                    <a:pt x="10" y="545"/>
                  </a:cubicBezTo>
                  <a:cubicBezTo>
                    <a:pt x="10" y="546"/>
                    <a:pt x="9" y="547"/>
                    <a:pt x="9" y="548"/>
                  </a:cubicBezTo>
                  <a:cubicBezTo>
                    <a:pt x="8" y="550"/>
                    <a:pt x="8" y="551"/>
                    <a:pt x="8" y="552"/>
                  </a:cubicBezTo>
                  <a:cubicBezTo>
                    <a:pt x="8" y="554"/>
                    <a:pt x="8" y="555"/>
                    <a:pt x="9" y="556"/>
                  </a:cubicBezTo>
                  <a:lnTo>
                    <a:pt x="21" y="594"/>
                  </a:lnTo>
                  <a:lnTo>
                    <a:pt x="28" y="613"/>
                  </a:lnTo>
                  <a:lnTo>
                    <a:pt x="54" y="691"/>
                  </a:lnTo>
                  <a:cubicBezTo>
                    <a:pt x="55" y="692"/>
                    <a:pt x="55" y="694"/>
                    <a:pt x="55" y="695"/>
                  </a:cubicBezTo>
                  <a:cubicBezTo>
                    <a:pt x="55" y="697"/>
                    <a:pt x="55" y="698"/>
                    <a:pt x="54" y="699"/>
                  </a:cubicBezTo>
                  <a:cubicBezTo>
                    <a:pt x="54" y="700"/>
                    <a:pt x="53" y="701"/>
                    <a:pt x="52" y="702"/>
                  </a:cubicBezTo>
                  <a:cubicBezTo>
                    <a:pt x="52" y="703"/>
                    <a:pt x="51" y="704"/>
                    <a:pt x="49" y="704"/>
                  </a:cubicBezTo>
                  <a:lnTo>
                    <a:pt x="5" y="723"/>
                  </a:lnTo>
                  <a:cubicBezTo>
                    <a:pt x="4" y="724"/>
                    <a:pt x="3" y="724"/>
                    <a:pt x="2" y="725"/>
                  </a:cubicBezTo>
                  <a:cubicBezTo>
                    <a:pt x="1" y="726"/>
                    <a:pt x="1" y="727"/>
                    <a:pt x="0" y="729"/>
                  </a:cubicBezTo>
                  <a:cubicBezTo>
                    <a:pt x="0" y="730"/>
                    <a:pt x="0" y="731"/>
                    <a:pt x="0" y="732"/>
                  </a:cubicBezTo>
                  <a:cubicBezTo>
                    <a:pt x="0" y="734"/>
                    <a:pt x="0" y="735"/>
                    <a:pt x="0" y="737"/>
                  </a:cubicBezTo>
                  <a:lnTo>
                    <a:pt x="19" y="794"/>
                  </a:lnTo>
                  <a:cubicBezTo>
                    <a:pt x="20" y="796"/>
                    <a:pt x="20" y="797"/>
                    <a:pt x="21" y="798"/>
                  </a:cubicBezTo>
                  <a:cubicBezTo>
                    <a:pt x="22" y="799"/>
                    <a:pt x="23" y="800"/>
                    <a:pt x="24" y="801"/>
                  </a:cubicBezTo>
                  <a:cubicBezTo>
                    <a:pt x="25" y="801"/>
                    <a:pt x="26" y="802"/>
                    <a:pt x="27" y="802"/>
                  </a:cubicBezTo>
                  <a:cubicBezTo>
                    <a:pt x="28" y="802"/>
                    <a:pt x="29" y="802"/>
                    <a:pt x="30" y="802"/>
                  </a:cubicBezTo>
                  <a:lnTo>
                    <a:pt x="51" y="794"/>
                  </a:lnTo>
                  <a:lnTo>
                    <a:pt x="76" y="784"/>
                  </a:lnTo>
                  <a:lnTo>
                    <a:pt x="123" y="766"/>
                  </a:lnTo>
                  <a:lnTo>
                    <a:pt x="141" y="759"/>
                  </a:lnTo>
                  <a:cubicBezTo>
                    <a:pt x="143" y="758"/>
                    <a:pt x="145" y="757"/>
                    <a:pt x="147" y="757"/>
                  </a:cubicBezTo>
                  <a:cubicBezTo>
                    <a:pt x="149" y="756"/>
                    <a:pt x="150" y="755"/>
                    <a:pt x="152" y="755"/>
                  </a:cubicBezTo>
                  <a:cubicBezTo>
                    <a:pt x="153" y="754"/>
                    <a:pt x="155" y="754"/>
                    <a:pt x="156" y="753"/>
                  </a:cubicBezTo>
                  <a:cubicBezTo>
                    <a:pt x="157" y="753"/>
                    <a:pt x="158" y="752"/>
                    <a:pt x="159" y="752"/>
                  </a:cubicBezTo>
                  <a:lnTo>
                    <a:pt x="228" y="725"/>
                  </a:lnTo>
                  <a:lnTo>
                    <a:pt x="251" y="717"/>
                  </a:lnTo>
                  <a:lnTo>
                    <a:pt x="862" y="480"/>
                  </a:lnTo>
                  <a:cubicBezTo>
                    <a:pt x="864" y="479"/>
                    <a:pt x="866" y="478"/>
                    <a:pt x="867" y="477"/>
                  </a:cubicBezTo>
                  <a:cubicBezTo>
                    <a:pt x="869" y="476"/>
                    <a:pt x="870" y="474"/>
                    <a:pt x="871" y="472"/>
                  </a:cubicBezTo>
                  <a:cubicBezTo>
                    <a:pt x="872" y="470"/>
                    <a:pt x="872" y="469"/>
                    <a:pt x="872" y="467"/>
                  </a:cubicBezTo>
                  <a:cubicBezTo>
                    <a:pt x="872" y="465"/>
                    <a:pt x="871" y="463"/>
                    <a:pt x="871" y="46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60" name="Content_marketing" descr="{&quot;Key&quot;:&quot;POWER_USER_SHAPE_ICON&quot;,&quot;Value&quot;:&quot;POWER_USER_SHAPE_ICON_STYLE_1&quot;}">
            <a:extLst>
              <a:ext uri="{FF2B5EF4-FFF2-40B4-BE49-F238E27FC236}">
                <a16:creationId xmlns:a16="http://schemas.microsoft.com/office/drawing/2014/main" id="{229612BA-6759-4F20-B5E5-264E75A266D9}"/>
              </a:ext>
            </a:extLst>
          </p:cNvPr>
          <p:cNvGrpSpPr>
            <a:grpSpLocks noChangeAspect="1"/>
          </p:cNvGrpSpPr>
          <p:nvPr>
            <p:custDataLst>
              <p:tags r:id="rId3"/>
            </p:custDataLst>
          </p:nvPr>
        </p:nvGrpSpPr>
        <p:grpSpPr>
          <a:xfrm>
            <a:off x="5777110" y="2804143"/>
            <a:ext cx="628758" cy="542925"/>
            <a:chOff x="2589213" y="671513"/>
            <a:chExt cx="965200" cy="833438"/>
          </a:xfrm>
          <a:solidFill>
            <a:schemeClr val="accent1"/>
          </a:solidFill>
        </p:grpSpPr>
        <p:sp>
          <p:nvSpPr>
            <p:cNvPr id="61" name="Freeform 303">
              <a:extLst>
                <a:ext uri="{FF2B5EF4-FFF2-40B4-BE49-F238E27FC236}">
                  <a16:creationId xmlns:a16="http://schemas.microsoft.com/office/drawing/2014/main" id="{B0EB93B8-58CD-42B5-B51D-9C7509E82052}"/>
                </a:ext>
              </a:extLst>
            </p:cNvPr>
            <p:cNvSpPr>
              <a:spLocks noEditPoints="1"/>
            </p:cNvSpPr>
            <p:nvPr/>
          </p:nvSpPr>
          <p:spPr bwMode="auto">
            <a:xfrm>
              <a:off x="3243263" y="671513"/>
              <a:ext cx="292100" cy="209550"/>
            </a:xfrm>
            <a:custGeom>
              <a:avLst/>
              <a:gdLst>
                <a:gd name="T0" fmla="*/ 169 w 187"/>
                <a:gd name="T1" fmla="*/ 117 h 134"/>
                <a:gd name="T2" fmla="*/ 18 w 187"/>
                <a:gd name="T3" fmla="*/ 117 h 134"/>
                <a:gd name="T4" fmla="*/ 18 w 187"/>
                <a:gd name="T5" fmla="*/ 105 h 134"/>
                <a:gd name="T6" fmla="*/ 62 w 187"/>
                <a:gd name="T7" fmla="*/ 69 h 134"/>
                <a:gd name="T8" fmla="*/ 77 w 187"/>
                <a:gd name="T9" fmla="*/ 70 h 134"/>
                <a:gd name="T10" fmla="*/ 91 w 187"/>
                <a:gd name="T11" fmla="*/ 85 h 134"/>
                <a:gd name="T12" fmla="*/ 106 w 187"/>
                <a:gd name="T13" fmla="*/ 86 h 134"/>
                <a:gd name="T14" fmla="*/ 118 w 187"/>
                <a:gd name="T15" fmla="*/ 76 h 134"/>
                <a:gd name="T16" fmla="*/ 131 w 187"/>
                <a:gd name="T17" fmla="*/ 76 h 134"/>
                <a:gd name="T18" fmla="*/ 169 w 187"/>
                <a:gd name="T19" fmla="*/ 105 h 134"/>
                <a:gd name="T20" fmla="*/ 169 w 187"/>
                <a:gd name="T21" fmla="*/ 117 h 134"/>
                <a:gd name="T22" fmla="*/ 172 w 187"/>
                <a:gd name="T23" fmla="*/ 0 h 134"/>
                <a:gd name="T24" fmla="*/ 15 w 187"/>
                <a:gd name="T25" fmla="*/ 0 h 134"/>
                <a:gd name="T26" fmla="*/ 0 w 187"/>
                <a:gd name="T27" fmla="*/ 15 h 134"/>
                <a:gd name="T28" fmla="*/ 0 w 187"/>
                <a:gd name="T29" fmla="*/ 119 h 134"/>
                <a:gd name="T30" fmla="*/ 15 w 187"/>
                <a:gd name="T31" fmla="*/ 134 h 134"/>
                <a:gd name="T32" fmla="*/ 172 w 187"/>
                <a:gd name="T33" fmla="*/ 134 h 134"/>
                <a:gd name="T34" fmla="*/ 187 w 187"/>
                <a:gd name="T35" fmla="*/ 119 h 134"/>
                <a:gd name="T36" fmla="*/ 187 w 187"/>
                <a:gd name="T37" fmla="*/ 15 h 134"/>
                <a:gd name="T38" fmla="*/ 172 w 187"/>
                <a:gd name="T39"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7" h="134">
                  <a:moveTo>
                    <a:pt x="169" y="117"/>
                  </a:moveTo>
                  <a:lnTo>
                    <a:pt x="18" y="117"/>
                  </a:lnTo>
                  <a:lnTo>
                    <a:pt x="18" y="105"/>
                  </a:lnTo>
                  <a:lnTo>
                    <a:pt x="62" y="69"/>
                  </a:lnTo>
                  <a:cubicBezTo>
                    <a:pt x="67" y="66"/>
                    <a:pt x="73" y="66"/>
                    <a:pt x="77" y="70"/>
                  </a:cubicBezTo>
                  <a:lnTo>
                    <a:pt x="91" y="85"/>
                  </a:lnTo>
                  <a:cubicBezTo>
                    <a:pt x="95" y="90"/>
                    <a:pt x="101" y="90"/>
                    <a:pt x="106" y="86"/>
                  </a:cubicBezTo>
                  <a:lnTo>
                    <a:pt x="118" y="76"/>
                  </a:lnTo>
                  <a:cubicBezTo>
                    <a:pt x="121" y="72"/>
                    <a:pt x="127" y="72"/>
                    <a:pt x="131" y="76"/>
                  </a:cubicBezTo>
                  <a:lnTo>
                    <a:pt x="169" y="105"/>
                  </a:lnTo>
                  <a:lnTo>
                    <a:pt x="169" y="117"/>
                  </a:lnTo>
                  <a:close/>
                  <a:moveTo>
                    <a:pt x="172" y="0"/>
                  </a:moveTo>
                  <a:lnTo>
                    <a:pt x="15" y="0"/>
                  </a:lnTo>
                  <a:cubicBezTo>
                    <a:pt x="7" y="0"/>
                    <a:pt x="0" y="7"/>
                    <a:pt x="0" y="15"/>
                  </a:cubicBezTo>
                  <a:lnTo>
                    <a:pt x="0" y="119"/>
                  </a:lnTo>
                  <a:cubicBezTo>
                    <a:pt x="0" y="127"/>
                    <a:pt x="7" y="134"/>
                    <a:pt x="15" y="134"/>
                  </a:cubicBezTo>
                  <a:lnTo>
                    <a:pt x="172" y="134"/>
                  </a:lnTo>
                  <a:cubicBezTo>
                    <a:pt x="180" y="134"/>
                    <a:pt x="187" y="127"/>
                    <a:pt x="187" y="119"/>
                  </a:cubicBezTo>
                  <a:lnTo>
                    <a:pt x="187" y="15"/>
                  </a:lnTo>
                  <a:cubicBezTo>
                    <a:pt x="187" y="7"/>
                    <a:pt x="180" y="0"/>
                    <a:pt x="17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Freeform 304">
              <a:extLst>
                <a:ext uri="{FF2B5EF4-FFF2-40B4-BE49-F238E27FC236}">
                  <a16:creationId xmlns:a16="http://schemas.microsoft.com/office/drawing/2014/main" id="{C1551BD1-8577-4222-96D9-22A72485DCC1}"/>
                </a:ext>
              </a:extLst>
            </p:cNvPr>
            <p:cNvSpPr>
              <a:spLocks noEditPoints="1"/>
            </p:cNvSpPr>
            <p:nvPr/>
          </p:nvSpPr>
          <p:spPr bwMode="auto">
            <a:xfrm>
              <a:off x="2589213" y="1055688"/>
              <a:ext cx="331788" cy="246063"/>
            </a:xfrm>
            <a:custGeom>
              <a:avLst/>
              <a:gdLst>
                <a:gd name="T0" fmla="*/ 174 w 213"/>
                <a:gd name="T1" fmla="*/ 71 h 158"/>
                <a:gd name="T2" fmla="*/ 147 w 213"/>
                <a:gd name="T3" fmla="*/ 71 h 158"/>
                <a:gd name="T4" fmla="*/ 147 w 213"/>
                <a:gd name="T5" fmla="*/ 36 h 158"/>
                <a:gd name="T6" fmla="*/ 174 w 213"/>
                <a:gd name="T7" fmla="*/ 36 h 158"/>
                <a:gd name="T8" fmla="*/ 174 w 213"/>
                <a:gd name="T9" fmla="*/ 71 h 158"/>
                <a:gd name="T10" fmla="*/ 120 w 213"/>
                <a:gd name="T11" fmla="*/ 71 h 158"/>
                <a:gd name="T12" fmla="*/ 94 w 213"/>
                <a:gd name="T13" fmla="*/ 71 h 158"/>
                <a:gd name="T14" fmla="*/ 94 w 213"/>
                <a:gd name="T15" fmla="*/ 36 h 158"/>
                <a:gd name="T16" fmla="*/ 120 w 213"/>
                <a:gd name="T17" fmla="*/ 36 h 158"/>
                <a:gd name="T18" fmla="*/ 120 w 213"/>
                <a:gd name="T19" fmla="*/ 71 h 158"/>
                <a:gd name="T20" fmla="*/ 67 w 213"/>
                <a:gd name="T21" fmla="*/ 71 h 158"/>
                <a:gd name="T22" fmla="*/ 40 w 213"/>
                <a:gd name="T23" fmla="*/ 71 h 158"/>
                <a:gd name="T24" fmla="*/ 40 w 213"/>
                <a:gd name="T25" fmla="*/ 36 h 158"/>
                <a:gd name="T26" fmla="*/ 67 w 213"/>
                <a:gd name="T27" fmla="*/ 36 h 158"/>
                <a:gd name="T28" fmla="*/ 67 w 213"/>
                <a:gd name="T29" fmla="*/ 71 h 158"/>
                <a:gd name="T30" fmla="*/ 0 w 213"/>
                <a:gd name="T31" fmla="*/ 13 h 158"/>
                <a:gd name="T32" fmla="*/ 0 w 213"/>
                <a:gd name="T33" fmla="*/ 94 h 158"/>
                <a:gd name="T34" fmla="*/ 12 w 213"/>
                <a:gd name="T35" fmla="*/ 107 h 158"/>
                <a:gd name="T36" fmla="*/ 51 w 213"/>
                <a:gd name="T37" fmla="*/ 107 h 158"/>
                <a:gd name="T38" fmla="*/ 51 w 213"/>
                <a:gd name="T39" fmla="*/ 149 h 158"/>
                <a:gd name="T40" fmla="*/ 63 w 213"/>
                <a:gd name="T41" fmla="*/ 153 h 158"/>
                <a:gd name="T42" fmla="*/ 95 w 213"/>
                <a:gd name="T43" fmla="*/ 107 h 158"/>
                <a:gd name="T44" fmla="*/ 200 w 213"/>
                <a:gd name="T45" fmla="*/ 107 h 158"/>
                <a:gd name="T46" fmla="*/ 213 w 213"/>
                <a:gd name="T47" fmla="*/ 94 h 158"/>
                <a:gd name="T48" fmla="*/ 213 w 213"/>
                <a:gd name="T49" fmla="*/ 13 h 158"/>
                <a:gd name="T50" fmla="*/ 200 w 213"/>
                <a:gd name="T51" fmla="*/ 0 h 158"/>
                <a:gd name="T52" fmla="*/ 12 w 213"/>
                <a:gd name="T53" fmla="*/ 0 h 158"/>
                <a:gd name="T54" fmla="*/ 0 w 213"/>
                <a:gd name="T55" fmla="*/ 1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3" h="158">
                  <a:moveTo>
                    <a:pt x="174" y="71"/>
                  </a:moveTo>
                  <a:lnTo>
                    <a:pt x="147" y="71"/>
                  </a:lnTo>
                  <a:lnTo>
                    <a:pt x="147" y="36"/>
                  </a:lnTo>
                  <a:lnTo>
                    <a:pt x="174" y="36"/>
                  </a:lnTo>
                  <a:lnTo>
                    <a:pt x="174" y="71"/>
                  </a:lnTo>
                  <a:close/>
                  <a:moveTo>
                    <a:pt x="120" y="71"/>
                  </a:moveTo>
                  <a:lnTo>
                    <a:pt x="94" y="71"/>
                  </a:lnTo>
                  <a:lnTo>
                    <a:pt x="94" y="36"/>
                  </a:lnTo>
                  <a:lnTo>
                    <a:pt x="120" y="36"/>
                  </a:lnTo>
                  <a:lnTo>
                    <a:pt x="120" y="71"/>
                  </a:lnTo>
                  <a:close/>
                  <a:moveTo>
                    <a:pt x="67" y="71"/>
                  </a:moveTo>
                  <a:lnTo>
                    <a:pt x="40" y="71"/>
                  </a:lnTo>
                  <a:lnTo>
                    <a:pt x="40" y="36"/>
                  </a:lnTo>
                  <a:lnTo>
                    <a:pt x="67" y="36"/>
                  </a:lnTo>
                  <a:lnTo>
                    <a:pt x="67" y="71"/>
                  </a:lnTo>
                  <a:close/>
                  <a:moveTo>
                    <a:pt x="0" y="13"/>
                  </a:moveTo>
                  <a:lnTo>
                    <a:pt x="0" y="94"/>
                  </a:lnTo>
                  <a:cubicBezTo>
                    <a:pt x="0" y="101"/>
                    <a:pt x="5" y="107"/>
                    <a:pt x="12" y="107"/>
                  </a:cubicBezTo>
                  <a:lnTo>
                    <a:pt x="51" y="107"/>
                  </a:lnTo>
                  <a:lnTo>
                    <a:pt x="51" y="149"/>
                  </a:lnTo>
                  <a:cubicBezTo>
                    <a:pt x="51" y="155"/>
                    <a:pt x="59" y="158"/>
                    <a:pt x="63" y="153"/>
                  </a:cubicBezTo>
                  <a:lnTo>
                    <a:pt x="95" y="107"/>
                  </a:lnTo>
                  <a:lnTo>
                    <a:pt x="200" y="107"/>
                  </a:lnTo>
                  <a:cubicBezTo>
                    <a:pt x="207" y="107"/>
                    <a:pt x="213" y="101"/>
                    <a:pt x="213" y="94"/>
                  </a:cubicBezTo>
                  <a:lnTo>
                    <a:pt x="213" y="13"/>
                  </a:lnTo>
                  <a:cubicBezTo>
                    <a:pt x="213" y="6"/>
                    <a:pt x="207" y="0"/>
                    <a:pt x="200" y="0"/>
                  </a:cubicBezTo>
                  <a:lnTo>
                    <a:pt x="12" y="0"/>
                  </a:lnTo>
                  <a:cubicBezTo>
                    <a:pt x="5" y="0"/>
                    <a:pt x="0" y="6"/>
                    <a:pt x="0" y="1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 name="Oval 305">
              <a:extLst>
                <a:ext uri="{FF2B5EF4-FFF2-40B4-BE49-F238E27FC236}">
                  <a16:creationId xmlns:a16="http://schemas.microsoft.com/office/drawing/2014/main" id="{406F7A7A-9F12-46DC-B83F-3E6F926AD44A}"/>
                </a:ext>
              </a:extLst>
            </p:cNvPr>
            <p:cNvSpPr>
              <a:spLocks noChangeArrowheads="1"/>
            </p:cNvSpPr>
            <p:nvPr/>
          </p:nvSpPr>
          <p:spPr bwMode="auto">
            <a:xfrm>
              <a:off x="3311526" y="1217613"/>
              <a:ext cx="127000" cy="12541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Oval 306">
              <a:extLst>
                <a:ext uri="{FF2B5EF4-FFF2-40B4-BE49-F238E27FC236}">
                  <a16:creationId xmlns:a16="http://schemas.microsoft.com/office/drawing/2014/main" id="{71AF7510-B6E1-40D7-8BB6-13A6B372B93E}"/>
                </a:ext>
              </a:extLst>
            </p:cNvPr>
            <p:cNvSpPr>
              <a:spLocks noChangeArrowheads="1"/>
            </p:cNvSpPr>
            <p:nvPr/>
          </p:nvSpPr>
          <p:spPr bwMode="auto">
            <a:xfrm>
              <a:off x="2773363" y="742951"/>
              <a:ext cx="84138" cy="825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Freeform 307">
              <a:extLst>
                <a:ext uri="{FF2B5EF4-FFF2-40B4-BE49-F238E27FC236}">
                  <a16:creationId xmlns:a16="http://schemas.microsoft.com/office/drawing/2014/main" id="{F132D35D-F53F-4DCE-AA55-8AF6E3A1ECA5}"/>
                </a:ext>
              </a:extLst>
            </p:cNvPr>
            <p:cNvSpPr>
              <a:spLocks/>
            </p:cNvSpPr>
            <p:nvPr/>
          </p:nvSpPr>
          <p:spPr bwMode="auto">
            <a:xfrm>
              <a:off x="3452813" y="966788"/>
              <a:ext cx="101600" cy="114300"/>
            </a:xfrm>
            <a:custGeom>
              <a:avLst/>
              <a:gdLst>
                <a:gd name="T0" fmla="*/ 0 w 65"/>
                <a:gd name="T1" fmla="*/ 66 h 74"/>
                <a:gd name="T2" fmla="*/ 0 w 65"/>
                <a:gd name="T3" fmla="*/ 8 h 74"/>
                <a:gd name="T4" fmla="*/ 10 w 65"/>
                <a:gd name="T5" fmla="*/ 3 h 74"/>
                <a:gd name="T6" fmla="*/ 61 w 65"/>
                <a:gd name="T7" fmla="*/ 32 h 74"/>
                <a:gd name="T8" fmla="*/ 61 w 65"/>
                <a:gd name="T9" fmla="*/ 43 h 74"/>
                <a:gd name="T10" fmla="*/ 10 w 65"/>
                <a:gd name="T11" fmla="*/ 72 h 74"/>
                <a:gd name="T12" fmla="*/ 0 w 65"/>
                <a:gd name="T13" fmla="*/ 66 h 74"/>
              </a:gdLst>
              <a:ahLst/>
              <a:cxnLst>
                <a:cxn ang="0">
                  <a:pos x="T0" y="T1"/>
                </a:cxn>
                <a:cxn ang="0">
                  <a:pos x="T2" y="T3"/>
                </a:cxn>
                <a:cxn ang="0">
                  <a:pos x="T4" y="T5"/>
                </a:cxn>
                <a:cxn ang="0">
                  <a:pos x="T6" y="T7"/>
                </a:cxn>
                <a:cxn ang="0">
                  <a:pos x="T8" y="T9"/>
                </a:cxn>
                <a:cxn ang="0">
                  <a:pos x="T10" y="T11"/>
                </a:cxn>
                <a:cxn ang="0">
                  <a:pos x="T12" y="T13"/>
                </a:cxn>
              </a:cxnLst>
              <a:rect l="0" t="0" r="r" b="b"/>
              <a:pathLst>
                <a:path w="65" h="74">
                  <a:moveTo>
                    <a:pt x="0" y="66"/>
                  </a:moveTo>
                  <a:lnTo>
                    <a:pt x="0" y="8"/>
                  </a:lnTo>
                  <a:cubicBezTo>
                    <a:pt x="0" y="3"/>
                    <a:pt x="6" y="0"/>
                    <a:pt x="10" y="3"/>
                  </a:cubicBezTo>
                  <a:lnTo>
                    <a:pt x="61" y="32"/>
                  </a:lnTo>
                  <a:cubicBezTo>
                    <a:pt x="65" y="34"/>
                    <a:pt x="65" y="40"/>
                    <a:pt x="61" y="43"/>
                  </a:cubicBezTo>
                  <a:lnTo>
                    <a:pt x="10" y="72"/>
                  </a:lnTo>
                  <a:cubicBezTo>
                    <a:pt x="6" y="74"/>
                    <a:pt x="0" y="71"/>
                    <a:pt x="0" y="6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Freeform 308">
              <a:extLst>
                <a:ext uri="{FF2B5EF4-FFF2-40B4-BE49-F238E27FC236}">
                  <a16:creationId xmlns:a16="http://schemas.microsoft.com/office/drawing/2014/main" id="{3F5DAC17-5378-4C39-A896-F97EC99BAD62}"/>
                </a:ext>
              </a:extLst>
            </p:cNvPr>
            <p:cNvSpPr>
              <a:spLocks/>
            </p:cNvSpPr>
            <p:nvPr/>
          </p:nvSpPr>
          <p:spPr bwMode="auto">
            <a:xfrm>
              <a:off x="2984501" y="1343026"/>
              <a:ext cx="225425" cy="161925"/>
            </a:xfrm>
            <a:custGeom>
              <a:avLst/>
              <a:gdLst>
                <a:gd name="T0" fmla="*/ 0 w 142"/>
                <a:gd name="T1" fmla="*/ 58 h 102"/>
                <a:gd name="T2" fmla="*/ 39 w 142"/>
                <a:gd name="T3" fmla="*/ 80 h 102"/>
                <a:gd name="T4" fmla="*/ 51 w 142"/>
                <a:gd name="T5" fmla="*/ 102 h 102"/>
                <a:gd name="T6" fmla="*/ 89 w 142"/>
                <a:gd name="T7" fmla="*/ 102 h 102"/>
                <a:gd name="T8" fmla="*/ 101 w 142"/>
                <a:gd name="T9" fmla="*/ 80 h 102"/>
                <a:gd name="T10" fmla="*/ 142 w 142"/>
                <a:gd name="T11" fmla="*/ 58 h 102"/>
                <a:gd name="T12" fmla="*/ 142 w 142"/>
                <a:gd name="T13" fmla="*/ 0 h 102"/>
                <a:gd name="T14" fmla="*/ 0 w 142"/>
                <a:gd name="T15" fmla="*/ 0 h 102"/>
                <a:gd name="T16" fmla="*/ 0 w 142"/>
                <a:gd name="T17" fmla="*/ 5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102">
                  <a:moveTo>
                    <a:pt x="0" y="58"/>
                  </a:moveTo>
                  <a:lnTo>
                    <a:pt x="39" y="80"/>
                  </a:lnTo>
                  <a:lnTo>
                    <a:pt x="51" y="102"/>
                  </a:lnTo>
                  <a:lnTo>
                    <a:pt x="89" y="102"/>
                  </a:lnTo>
                  <a:lnTo>
                    <a:pt x="101" y="80"/>
                  </a:lnTo>
                  <a:lnTo>
                    <a:pt x="142" y="58"/>
                  </a:lnTo>
                  <a:lnTo>
                    <a:pt x="142" y="0"/>
                  </a:lnTo>
                  <a:lnTo>
                    <a:pt x="0" y="0"/>
                  </a:lnTo>
                  <a:lnTo>
                    <a:pt x="0"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Oval 309">
              <a:extLst>
                <a:ext uri="{FF2B5EF4-FFF2-40B4-BE49-F238E27FC236}">
                  <a16:creationId xmlns:a16="http://schemas.microsoft.com/office/drawing/2014/main" id="{198147B1-0F63-40C2-8A10-77A7F9AC49C4}"/>
                </a:ext>
              </a:extLst>
            </p:cNvPr>
            <p:cNvSpPr>
              <a:spLocks noChangeArrowheads="1"/>
            </p:cNvSpPr>
            <p:nvPr/>
          </p:nvSpPr>
          <p:spPr bwMode="auto">
            <a:xfrm>
              <a:off x="3052763" y="971551"/>
              <a:ext cx="85725" cy="8572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Freeform 310">
              <a:extLst>
                <a:ext uri="{FF2B5EF4-FFF2-40B4-BE49-F238E27FC236}">
                  <a16:creationId xmlns:a16="http://schemas.microsoft.com/office/drawing/2014/main" id="{F6C807C6-4DD5-4E46-88EF-C34B2C5815E7}"/>
                </a:ext>
              </a:extLst>
            </p:cNvPr>
            <p:cNvSpPr>
              <a:spLocks noEditPoints="1"/>
            </p:cNvSpPr>
            <p:nvPr/>
          </p:nvSpPr>
          <p:spPr bwMode="auto">
            <a:xfrm>
              <a:off x="2862263" y="774701"/>
              <a:ext cx="466725" cy="534988"/>
            </a:xfrm>
            <a:custGeom>
              <a:avLst/>
              <a:gdLst>
                <a:gd name="T0" fmla="*/ 203 w 299"/>
                <a:gd name="T1" fmla="*/ 167 h 343"/>
                <a:gd name="T2" fmla="*/ 198 w 299"/>
                <a:gd name="T3" fmla="*/ 181 h 343"/>
                <a:gd name="T4" fmla="*/ 206 w 299"/>
                <a:gd name="T5" fmla="*/ 199 h 343"/>
                <a:gd name="T6" fmla="*/ 196 w 299"/>
                <a:gd name="T7" fmla="*/ 210 h 343"/>
                <a:gd name="T8" fmla="*/ 177 w 299"/>
                <a:gd name="T9" fmla="*/ 201 h 343"/>
                <a:gd name="T10" fmla="*/ 164 w 299"/>
                <a:gd name="T11" fmla="*/ 206 h 343"/>
                <a:gd name="T12" fmla="*/ 157 w 299"/>
                <a:gd name="T13" fmla="*/ 226 h 343"/>
                <a:gd name="T14" fmla="*/ 143 w 299"/>
                <a:gd name="T15" fmla="*/ 226 h 343"/>
                <a:gd name="T16" fmla="*/ 136 w 299"/>
                <a:gd name="T17" fmla="*/ 206 h 343"/>
                <a:gd name="T18" fmla="*/ 122 w 299"/>
                <a:gd name="T19" fmla="*/ 201 h 343"/>
                <a:gd name="T20" fmla="*/ 104 w 299"/>
                <a:gd name="T21" fmla="*/ 210 h 343"/>
                <a:gd name="T22" fmla="*/ 93 w 299"/>
                <a:gd name="T23" fmla="*/ 199 h 343"/>
                <a:gd name="T24" fmla="*/ 102 w 299"/>
                <a:gd name="T25" fmla="*/ 181 h 343"/>
                <a:gd name="T26" fmla="*/ 97 w 299"/>
                <a:gd name="T27" fmla="*/ 168 h 343"/>
                <a:gd name="T28" fmla="*/ 77 w 299"/>
                <a:gd name="T29" fmla="*/ 161 h 343"/>
                <a:gd name="T30" fmla="*/ 77 w 299"/>
                <a:gd name="T31" fmla="*/ 146 h 343"/>
                <a:gd name="T32" fmla="*/ 96 w 299"/>
                <a:gd name="T33" fmla="*/ 139 h 343"/>
                <a:gd name="T34" fmla="*/ 102 w 299"/>
                <a:gd name="T35" fmla="*/ 126 h 343"/>
                <a:gd name="T36" fmla="*/ 93 w 299"/>
                <a:gd name="T37" fmla="*/ 107 h 343"/>
                <a:gd name="T38" fmla="*/ 104 w 299"/>
                <a:gd name="T39" fmla="*/ 97 h 343"/>
                <a:gd name="T40" fmla="*/ 122 w 299"/>
                <a:gd name="T41" fmla="*/ 105 h 343"/>
                <a:gd name="T42" fmla="*/ 135 w 299"/>
                <a:gd name="T43" fmla="*/ 100 h 343"/>
                <a:gd name="T44" fmla="*/ 142 w 299"/>
                <a:gd name="T45" fmla="*/ 81 h 343"/>
                <a:gd name="T46" fmla="*/ 157 w 299"/>
                <a:gd name="T47" fmla="*/ 80 h 343"/>
                <a:gd name="T48" fmla="*/ 164 w 299"/>
                <a:gd name="T49" fmla="*/ 100 h 343"/>
                <a:gd name="T50" fmla="*/ 177 w 299"/>
                <a:gd name="T51" fmla="*/ 105 h 343"/>
                <a:gd name="T52" fmla="*/ 196 w 299"/>
                <a:gd name="T53" fmla="*/ 96 h 343"/>
                <a:gd name="T54" fmla="*/ 206 w 299"/>
                <a:gd name="T55" fmla="*/ 107 h 343"/>
                <a:gd name="T56" fmla="*/ 197 w 299"/>
                <a:gd name="T57" fmla="*/ 125 h 343"/>
                <a:gd name="T58" fmla="*/ 203 w 299"/>
                <a:gd name="T59" fmla="*/ 139 h 343"/>
                <a:gd name="T60" fmla="*/ 222 w 299"/>
                <a:gd name="T61" fmla="*/ 145 h 343"/>
                <a:gd name="T62" fmla="*/ 222 w 299"/>
                <a:gd name="T63" fmla="*/ 160 h 343"/>
                <a:gd name="T64" fmla="*/ 203 w 299"/>
                <a:gd name="T65" fmla="*/ 167 h 343"/>
                <a:gd name="T66" fmla="*/ 283 w 299"/>
                <a:gd name="T67" fmla="*/ 86 h 343"/>
                <a:gd name="T68" fmla="*/ 249 w 299"/>
                <a:gd name="T69" fmla="*/ 86 h 343"/>
                <a:gd name="T70" fmla="*/ 226 w 299"/>
                <a:gd name="T71" fmla="*/ 63 h 343"/>
                <a:gd name="T72" fmla="*/ 226 w 299"/>
                <a:gd name="T73" fmla="*/ 24 h 343"/>
                <a:gd name="T74" fmla="*/ 130 w 299"/>
                <a:gd name="T75" fmla="*/ 4 h 343"/>
                <a:gd name="T76" fmla="*/ 1 w 299"/>
                <a:gd name="T77" fmla="*/ 140 h 343"/>
                <a:gd name="T78" fmla="*/ 1 w 299"/>
                <a:gd name="T79" fmla="*/ 162 h 343"/>
                <a:gd name="T80" fmla="*/ 32 w 299"/>
                <a:gd name="T81" fmla="*/ 162 h 343"/>
                <a:gd name="T82" fmla="*/ 55 w 299"/>
                <a:gd name="T83" fmla="*/ 185 h 343"/>
                <a:gd name="T84" fmla="*/ 55 w 299"/>
                <a:gd name="T85" fmla="*/ 271 h 343"/>
                <a:gd name="T86" fmla="*/ 78 w 299"/>
                <a:gd name="T87" fmla="*/ 334 h 343"/>
                <a:gd name="T88" fmla="*/ 78 w 299"/>
                <a:gd name="T89" fmla="*/ 343 h 343"/>
                <a:gd name="T90" fmla="*/ 222 w 299"/>
                <a:gd name="T91" fmla="*/ 343 h 343"/>
                <a:gd name="T92" fmla="*/ 222 w 299"/>
                <a:gd name="T93" fmla="*/ 341 h 343"/>
                <a:gd name="T94" fmla="*/ 258 w 299"/>
                <a:gd name="T95" fmla="*/ 257 h 343"/>
                <a:gd name="T96" fmla="*/ 299 w 299"/>
                <a:gd name="T97" fmla="*/ 153 h 343"/>
                <a:gd name="T98" fmla="*/ 283 w 299"/>
                <a:gd name="T99" fmla="*/ 86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9" h="343">
                  <a:moveTo>
                    <a:pt x="203" y="167"/>
                  </a:moveTo>
                  <a:cubicBezTo>
                    <a:pt x="202" y="172"/>
                    <a:pt x="200" y="176"/>
                    <a:pt x="198" y="181"/>
                  </a:cubicBezTo>
                  <a:lnTo>
                    <a:pt x="206" y="199"/>
                  </a:lnTo>
                  <a:lnTo>
                    <a:pt x="196" y="210"/>
                  </a:lnTo>
                  <a:lnTo>
                    <a:pt x="177" y="201"/>
                  </a:lnTo>
                  <a:cubicBezTo>
                    <a:pt x="173" y="203"/>
                    <a:pt x="169" y="205"/>
                    <a:pt x="164" y="206"/>
                  </a:cubicBezTo>
                  <a:lnTo>
                    <a:pt x="157" y="226"/>
                  </a:lnTo>
                  <a:lnTo>
                    <a:pt x="143" y="226"/>
                  </a:lnTo>
                  <a:lnTo>
                    <a:pt x="136" y="206"/>
                  </a:lnTo>
                  <a:cubicBezTo>
                    <a:pt x="131" y="205"/>
                    <a:pt x="127" y="203"/>
                    <a:pt x="122" y="201"/>
                  </a:cubicBezTo>
                  <a:lnTo>
                    <a:pt x="104" y="210"/>
                  </a:lnTo>
                  <a:lnTo>
                    <a:pt x="93" y="199"/>
                  </a:lnTo>
                  <a:lnTo>
                    <a:pt x="102" y="181"/>
                  </a:lnTo>
                  <a:cubicBezTo>
                    <a:pt x="100" y="177"/>
                    <a:pt x="98" y="172"/>
                    <a:pt x="97" y="168"/>
                  </a:cubicBezTo>
                  <a:lnTo>
                    <a:pt x="77" y="161"/>
                  </a:lnTo>
                  <a:lnTo>
                    <a:pt x="77" y="146"/>
                  </a:lnTo>
                  <a:lnTo>
                    <a:pt x="96" y="139"/>
                  </a:lnTo>
                  <a:cubicBezTo>
                    <a:pt x="98" y="134"/>
                    <a:pt x="100" y="130"/>
                    <a:pt x="102" y="126"/>
                  </a:cubicBezTo>
                  <a:lnTo>
                    <a:pt x="93" y="107"/>
                  </a:lnTo>
                  <a:lnTo>
                    <a:pt x="104" y="97"/>
                  </a:lnTo>
                  <a:lnTo>
                    <a:pt x="122" y="105"/>
                  </a:lnTo>
                  <a:cubicBezTo>
                    <a:pt x="126" y="103"/>
                    <a:pt x="131" y="101"/>
                    <a:pt x="135" y="100"/>
                  </a:cubicBezTo>
                  <a:lnTo>
                    <a:pt x="142" y="81"/>
                  </a:lnTo>
                  <a:lnTo>
                    <a:pt x="157" y="80"/>
                  </a:lnTo>
                  <a:lnTo>
                    <a:pt x="164" y="100"/>
                  </a:lnTo>
                  <a:cubicBezTo>
                    <a:pt x="169" y="101"/>
                    <a:pt x="173" y="103"/>
                    <a:pt x="177" y="105"/>
                  </a:cubicBezTo>
                  <a:lnTo>
                    <a:pt x="196" y="96"/>
                  </a:lnTo>
                  <a:lnTo>
                    <a:pt x="206" y="107"/>
                  </a:lnTo>
                  <a:lnTo>
                    <a:pt x="197" y="125"/>
                  </a:lnTo>
                  <a:cubicBezTo>
                    <a:pt x="200" y="129"/>
                    <a:pt x="202" y="134"/>
                    <a:pt x="203" y="139"/>
                  </a:cubicBezTo>
                  <a:lnTo>
                    <a:pt x="222" y="145"/>
                  </a:lnTo>
                  <a:lnTo>
                    <a:pt x="222" y="160"/>
                  </a:lnTo>
                  <a:lnTo>
                    <a:pt x="203" y="167"/>
                  </a:lnTo>
                  <a:close/>
                  <a:moveTo>
                    <a:pt x="283" y="86"/>
                  </a:moveTo>
                  <a:lnTo>
                    <a:pt x="249" y="86"/>
                  </a:lnTo>
                  <a:cubicBezTo>
                    <a:pt x="236" y="86"/>
                    <a:pt x="226" y="75"/>
                    <a:pt x="226" y="63"/>
                  </a:cubicBezTo>
                  <a:lnTo>
                    <a:pt x="226" y="24"/>
                  </a:lnTo>
                  <a:cubicBezTo>
                    <a:pt x="199" y="8"/>
                    <a:pt x="165" y="0"/>
                    <a:pt x="130" y="4"/>
                  </a:cubicBezTo>
                  <a:cubicBezTo>
                    <a:pt x="61" y="13"/>
                    <a:pt x="7" y="71"/>
                    <a:pt x="1" y="140"/>
                  </a:cubicBezTo>
                  <a:cubicBezTo>
                    <a:pt x="0" y="147"/>
                    <a:pt x="0" y="155"/>
                    <a:pt x="1" y="162"/>
                  </a:cubicBezTo>
                  <a:lnTo>
                    <a:pt x="32" y="162"/>
                  </a:lnTo>
                  <a:cubicBezTo>
                    <a:pt x="45" y="162"/>
                    <a:pt x="55" y="172"/>
                    <a:pt x="55" y="185"/>
                  </a:cubicBezTo>
                  <a:lnTo>
                    <a:pt x="55" y="271"/>
                  </a:lnTo>
                  <a:cubicBezTo>
                    <a:pt x="69" y="289"/>
                    <a:pt x="78" y="311"/>
                    <a:pt x="78" y="334"/>
                  </a:cubicBezTo>
                  <a:lnTo>
                    <a:pt x="78" y="343"/>
                  </a:lnTo>
                  <a:lnTo>
                    <a:pt x="222" y="343"/>
                  </a:lnTo>
                  <a:lnTo>
                    <a:pt x="222" y="341"/>
                  </a:lnTo>
                  <a:cubicBezTo>
                    <a:pt x="222" y="309"/>
                    <a:pt x="235" y="280"/>
                    <a:pt x="258" y="257"/>
                  </a:cubicBezTo>
                  <a:cubicBezTo>
                    <a:pt x="284" y="230"/>
                    <a:pt x="299" y="193"/>
                    <a:pt x="299" y="153"/>
                  </a:cubicBezTo>
                  <a:cubicBezTo>
                    <a:pt x="299" y="129"/>
                    <a:pt x="293" y="106"/>
                    <a:pt x="283" y="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69" name="User_engagement" descr="{&quot;Key&quot;:&quot;POWER_USER_SHAPE_ICON&quot;,&quot;Value&quot;:&quot;POWER_USER_SHAPE_ICON_STYLE_1&quot;}">
            <a:extLst>
              <a:ext uri="{FF2B5EF4-FFF2-40B4-BE49-F238E27FC236}">
                <a16:creationId xmlns:a16="http://schemas.microsoft.com/office/drawing/2014/main" id="{FBAE057D-5E76-46E5-A92A-79958E67AAE6}"/>
              </a:ext>
            </a:extLst>
          </p:cNvPr>
          <p:cNvGrpSpPr>
            <a:grpSpLocks noChangeAspect="1"/>
          </p:cNvGrpSpPr>
          <p:nvPr>
            <p:custDataLst>
              <p:tags r:id="rId4"/>
            </p:custDataLst>
          </p:nvPr>
        </p:nvGrpSpPr>
        <p:grpSpPr>
          <a:xfrm>
            <a:off x="7958630" y="2769308"/>
            <a:ext cx="597218" cy="597218"/>
            <a:chOff x="4125913" y="3657601"/>
            <a:chExt cx="909638" cy="909638"/>
          </a:xfrm>
          <a:solidFill>
            <a:schemeClr val="accent1"/>
          </a:solidFill>
        </p:grpSpPr>
        <p:sp>
          <p:nvSpPr>
            <p:cNvPr id="70" name="Rectangle 260">
              <a:extLst>
                <a:ext uri="{FF2B5EF4-FFF2-40B4-BE49-F238E27FC236}">
                  <a16:creationId xmlns:a16="http://schemas.microsoft.com/office/drawing/2014/main" id="{19A6721C-47D7-4C65-9D34-E4D7A613F309}"/>
                </a:ext>
              </a:extLst>
            </p:cNvPr>
            <p:cNvSpPr>
              <a:spLocks noChangeArrowheads="1"/>
            </p:cNvSpPr>
            <p:nvPr/>
          </p:nvSpPr>
          <p:spPr bwMode="auto">
            <a:xfrm>
              <a:off x="4819651" y="3898901"/>
              <a:ext cx="53975" cy="539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Rectangle 261">
              <a:extLst>
                <a:ext uri="{FF2B5EF4-FFF2-40B4-BE49-F238E27FC236}">
                  <a16:creationId xmlns:a16="http://schemas.microsoft.com/office/drawing/2014/main" id="{8BCEE657-C3A4-4851-8737-2000DFDE13A6}"/>
                </a:ext>
              </a:extLst>
            </p:cNvPr>
            <p:cNvSpPr>
              <a:spLocks noChangeArrowheads="1"/>
            </p:cNvSpPr>
            <p:nvPr/>
          </p:nvSpPr>
          <p:spPr bwMode="auto">
            <a:xfrm>
              <a:off x="4873626" y="3819526"/>
              <a:ext cx="52388" cy="539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Rectangle 262">
              <a:extLst>
                <a:ext uri="{FF2B5EF4-FFF2-40B4-BE49-F238E27FC236}">
                  <a16:creationId xmlns:a16="http://schemas.microsoft.com/office/drawing/2014/main" id="{606A83A5-4B5A-437F-B724-A456DD2FB523}"/>
                </a:ext>
              </a:extLst>
            </p:cNvPr>
            <p:cNvSpPr>
              <a:spLocks noChangeArrowheads="1"/>
            </p:cNvSpPr>
            <p:nvPr/>
          </p:nvSpPr>
          <p:spPr bwMode="auto">
            <a:xfrm>
              <a:off x="4741863" y="3819526"/>
              <a:ext cx="52388" cy="539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Rectangle 263">
              <a:extLst>
                <a:ext uri="{FF2B5EF4-FFF2-40B4-BE49-F238E27FC236}">
                  <a16:creationId xmlns:a16="http://schemas.microsoft.com/office/drawing/2014/main" id="{1817E4B7-245B-4815-93E6-9D87C9BE3ED0}"/>
                </a:ext>
              </a:extLst>
            </p:cNvPr>
            <p:cNvSpPr>
              <a:spLocks noChangeArrowheads="1"/>
            </p:cNvSpPr>
            <p:nvPr/>
          </p:nvSpPr>
          <p:spPr bwMode="auto">
            <a:xfrm>
              <a:off x="4794251" y="3741738"/>
              <a:ext cx="52388" cy="523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Rectangle 264">
              <a:extLst>
                <a:ext uri="{FF2B5EF4-FFF2-40B4-BE49-F238E27FC236}">
                  <a16:creationId xmlns:a16="http://schemas.microsoft.com/office/drawing/2014/main" id="{E12515D1-A53F-4721-AD74-AE1428816663}"/>
                </a:ext>
              </a:extLst>
            </p:cNvPr>
            <p:cNvSpPr>
              <a:spLocks noChangeArrowheads="1"/>
            </p:cNvSpPr>
            <p:nvPr/>
          </p:nvSpPr>
          <p:spPr bwMode="auto">
            <a:xfrm>
              <a:off x="4289426" y="3898901"/>
              <a:ext cx="52388" cy="539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Rectangle 265">
              <a:extLst>
                <a:ext uri="{FF2B5EF4-FFF2-40B4-BE49-F238E27FC236}">
                  <a16:creationId xmlns:a16="http://schemas.microsoft.com/office/drawing/2014/main" id="{B6E4DBE9-7D6F-450B-9527-5EDA2CFAD6EF}"/>
                </a:ext>
              </a:extLst>
            </p:cNvPr>
            <p:cNvSpPr>
              <a:spLocks noChangeArrowheads="1"/>
            </p:cNvSpPr>
            <p:nvPr/>
          </p:nvSpPr>
          <p:spPr bwMode="auto">
            <a:xfrm>
              <a:off x="4237038" y="3819526"/>
              <a:ext cx="50800" cy="539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Rectangle 266">
              <a:extLst>
                <a:ext uri="{FF2B5EF4-FFF2-40B4-BE49-F238E27FC236}">
                  <a16:creationId xmlns:a16="http://schemas.microsoft.com/office/drawing/2014/main" id="{80F4C4A5-5BB0-4732-8DE9-E29E6ABF2AE0}"/>
                </a:ext>
              </a:extLst>
            </p:cNvPr>
            <p:cNvSpPr>
              <a:spLocks noChangeArrowheads="1"/>
            </p:cNvSpPr>
            <p:nvPr/>
          </p:nvSpPr>
          <p:spPr bwMode="auto">
            <a:xfrm>
              <a:off x="4367213" y="3819526"/>
              <a:ext cx="52388" cy="539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Rectangle 267">
              <a:extLst>
                <a:ext uri="{FF2B5EF4-FFF2-40B4-BE49-F238E27FC236}">
                  <a16:creationId xmlns:a16="http://schemas.microsoft.com/office/drawing/2014/main" id="{0DBA186E-49D7-4361-AE52-F5D813C4F84C}"/>
                </a:ext>
              </a:extLst>
            </p:cNvPr>
            <p:cNvSpPr>
              <a:spLocks noChangeArrowheads="1"/>
            </p:cNvSpPr>
            <p:nvPr/>
          </p:nvSpPr>
          <p:spPr bwMode="auto">
            <a:xfrm>
              <a:off x="4316413" y="3741738"/>
              <a:ext cx="50800" cy="523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Rectangle 268">
              <a:extLst>
                <a:ext uri="{FF2B5EF4-FFF2-40B4-BE49-F238E27FC236}">
                  <a16:creationId xmlns:a16="http://schemas.microsoft.com/office/drawing/2014/main" id="{431D089C-9AB3-4829-B874-F210D9C81D28}"/>
                </a:ext>
              </a:extLst>
            </p:cNvPr>
            <p:cNvSpPr>
              <a:spLocks noChangeArrowheads="1"/>
            </p:cNvSpPr>
            <p:nvPr/>
          </p:nvSpPr>
          <p:spPr bwMode="auto">
            <a:xfrm>
              <a:off x="4819651" y="4271963"/>
              <a:ext cx="53975" cy="539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Rectangle 269">
              <a:extLst>
                <a:ext uri="{FF2B5EF4-FFF2-40B4-BE49-F238E27FC236}">
                  <a16:creationId xmlns:a16="http://schemas.microsoft.com/office/drawing/2014/main" id="{7F3C3B63-CD50-4282-B12D-9D5423F2E7CE}"/>
                </a:ext>
              </a:extLst>
            </p:cNvPr>
            <p:cNvSpPr>
              <a:spLocks noChangeArrowheads="1"/>
            </p:cNvSpPr>
            <p:nvPr/>
          </p:nvSpPr>
          <p:spPr bwMode="auto">
            <a:xfrm>
              <a:off x="4873626" y="4352926"/>
              <a:ext cx="52388" cy="508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Rectangle 270">
              <a:extLst>
                <a:ext uri="{FF2B5EF4-FFF2-40B4-BE49-F238E27FC236}">
                  <a16:creationId xmlns:a16="http://schemas.microsoft.com/office/drawing/2014/main" id="{826D4C59-8048-4DCE-97B8-549F6B427D8C}"/>
                </a:ext>
              </a:extLst>
            </p:cNvPr>
            <p:cNvSpPr>
              <a:spLocks noChangeArrowheads="1"/>
            </p:cNvSpPr>
            <p:nvPr/>
          </p:nvSpPr>
          <p:spPr bwMode="auto">
            <a:xfrm>
              <a:off x="4741863" y="4352926"/>
              <a:ext cx="52388" cy="508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Rectangle 271">
              <a:extLst>
                <a:ext uri="{FF2B5EF4-FFF2-40B4-BE49-F238E27FC236}">
                  <a16:creationId xmlns:a16="http://schemas.microsoft.com/office/drawing/2014/main" id="{810EDEDB-03F6-4CF5-A479-DFDCF80EDF2C}"/>
                </a:ext>
              </a:extLst>
            </p:cNvPr>
            <p:cNvSpPr>
              <a:spLocks noChangeArrowheads="1"/>
            </p:cNvSpPr>
            <p:nvPr/>
          </p:nvSpPr>
          <p:spPr bwMode="auto">
            <a:xfrm>
              <a:off x="4794251" y="4430713"/>
              <a:ext cx="52388" cy="523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Rectangle 272">
              <a:extLst>
                <a:ext uri="{FF2B5EF4-FFF2-40B4-BE49-F238E27FC236}">
                  <a16:creationId xmlns:a16="http://schemas.microsoft.com/office/drawing/2014/main" id="{C7065322-D6EC-4178-B30E-C10B316BE473}"/>
                </a:ext>
              </a:extLst>
            </p:cNvPr>
            <p:cNvSpPr>
              <a:spLocks noChangeArrowheads="1"/>
            </p:cNvSpPr>
            <p:nvPr/>
          </p:nvSpPr>
          <p:spPr bwMode="auto">
            <a:xfrm>
              <a:off x="4289426" y="4271963"/>
              <a:ext cx="52388" cy="539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Rectangle 273">
              <a:extLst>
                <a:ext uri="{FF2B5EF4-FFF2-40B4-BE49-F238E27FC236}">
                  <a16:creationId xmlns:a16="http://schemas.microsoft.com/office/drawing/2014/main" id="{96B560F4-7C72-4C21-8632-5205EC74CF69}"/>
                </a:ext>
              </a:extLst>
            </p:cNvPr>
            <p:cNvSpPr>
              <a:spLocks noChangeArrowheads="1"/>
            </p:cNvSpPr>
            <p:nvPr/>
          </p:nvSpPr>
          <p:spPr bwMode="auto">
            <a:xfrm>
              <a:off x="4237038" y="4352926"/>
              <a:ext cx="50800" cy="508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Rectangle 274">
              <a:extLst>
                <a:ext uri="{FF2B5EF4-FFF2-40B4-BE49-F238E27FC236}">
                  <a16:creationId xmlns:a16="http://schemas.microsoft.com/office/drawing/2014/main" id="{1CCEF5D6-DB9F-4406-920F-1B682063AD59}"/>
                </a:ext>
              </a:extLst>
            </p:cNvPr>
            <p:cNvSpPr>
              <a:spLocks noChangeArrowheads="1"/>
            </p:cNvSpPr>
            <p:nvPr/>
          </p:nvSpPr>
          <p:spPr bwMode="auto">
            <a:xfrm>
              <a:off x="4367213" y="4352926"/>
              <a:ext cx="52388" cy="508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Rectangle 275">
              <a:extLst>
                <a:ext uri="{FF2B5EF4-FFF2-40B4-BE49-F238E27FC236}">
                  <a16:creationId xmlns:a16="http://schemas.microsoft.com/office/drawing/2014/main" id="{5F8A873D-8845-431F-9F6C-62A968469116}"/>
                </a:ext>
              </a:extLst>
            </p:cNvPr>
            <p:cNvSpPr>
              <a:spLocks noChangeArrowheads="1"/>
            </p:cNvSpPr>
            <p:nvPr/>
          </p:nvSpPr>
          <p:spPr bwMode="auto">
            <a:xfrm>
              <a:off x="4316413" y="4430713"/>
              <a:ext cx="50800" cy="523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276">
              <a:extLst>
                <a:ext uri="{FF2B5EF4-FFF2-40B4-BE49-F238E27FC236}">
                  <a16:creationId xmlns:a16="http://schemas.microsoft.com/office/drawing/2014/main" id="{6485C94B-81BF-4697-86E1-9E3F9B452083}"/>
                </a:ext>
              </a:extLst>
            </p:cNvPr>
            <p:cNvSpPr>
              <a:spLocks noEditPoints="1"/>
            </p:cNvSpPr>
            <p:nvPr/>
          </p:nvSpPr>
          <p:spPr bwMode="auto">
            <a:xfrm>
              <a:off x="4362451" y="3894138"/>
              <a:ext cx="436563" cy="436563"/>
            </a:xfrm>
            <a:custGeom>
              <a:avLst/>
              <a:gdLst>
                <a:gd name="T0" fmla="*/ 216 w 279"/>
                <a:gd name="T1" fmla="*/ 200 h 279"/>
                <a:gd name="T2" fmla="*/ 208 w 279"/>
                <a:gd name="T3" fmla="*/ 208 h 279"/>
                <a:gd name="T4" fmla="*/ 70 w 279"/>
                <a:gd name="T5" fmla="*/ 208 h 279"/>
                <a:gd name="T6" fmla="*/ 64 w 279"/>
                <a:gd name="T7" fmla="*/ 201 h 279"/>
                <a:gd name="T8" fmla="*/ 63 w 279"/>
                <a:gd name="T9" fmla="*/ 188 h 279"/>
                <a:gd name="T10" fmla="*/ 82 w 279"/>
                <a:gd name="T11" fmla="*/ 161 h 279"/>
                <a:gd name="T12" fmla="*/ 105 w 279"/>
                <a:gd name="T13" fmla="*/ 153 h 279"/>
                <a:gd name="T14" fmla="*/ 107 w 279"/>
                <a:gd name="T15" fmla="*/ 153 h 279"/>
                <a:gd name="T16" fmla="*/ 172 w 279"/>
                <a:gd name="T17" fmla="*/ 153 h 279"/>
                <a:gd name="T18" fmla="*/ 197 w 279"/>
                <a:gd name="T19" fmla="*/ 161 h 279"/>
                <a:gd name="T20" fmla="*/ 216 w 279"/>
                <a:gd name="T21" fmla="*/ 188 h 279"/>
                <a:gd name="T22" fmla="*/ 216 w 279"/>
                <a:gd name="T23" fmla="*/ 200 h 279"/>
                <a:gd name="T24" fmla="*/ 131 w 279"/>
                <a:gd name="T25" fmla="*/ 53 h 279"/>
                <a:gd name="T26" fmla="*/ 147 w 279"/>
                <a:gd name="T27" fmla="*/ 53 h 279"/>
                <a:gd name="T28" fmla="*/ 174 w 279"/>
                <a:gd name="T29" fmla="*/ 81 h 279"/>
                <a:gd name="T30" fmla="*/ 170 w 279"/>
                <a:gd name="T31" fmla="*/ 106 h 279"/>
                <a:gd name="T32" fmla="*/ 143 w 279"/>
                <a:gd name="T33" fmla="*/ 129 h 279"/>
                <a:gd name="T34" fmla="*/ 134 w 279"/>
                <a:gd name="T35" fmla="*/ 129 h 279"/>
                <a:gd name="T36" fmla="*/ 107 w 279"/>
                <a:gd name="T37" fmla="*/ 106 h 279"/>
                <a:gd name="T38" fmla="*/ 104 w 279"/>
                <a:gd name="T39" fmla="*/ 81 h 279"/>
                <a:gd name="T40" fmla="*/ 131 w 279"/>
                <a:gd name="T41" fmla="*/ 53 h 279"/>
                <a:gd name="T42" fmla="*/ 229 w 279"/>
                <a:gd name="T43" fmla="*/ 50 h 279"/>
                <a:gd name="T44" fmla="*/ 50 w 279"/>
                <a:gd name="T45" fmla="*/ 50 h 279"/>
                <a:gd name="T46" fmla="*/ 50 w 279"/>
                <a:gd name="T47" fmla="*/ 229 h 279"/>
                <a:gd name="T48" fmla="*/ 229 w 279"/>
                <a:gd name="T49" fmla="*/ 229 h 279"/>
                <a:gd name="T50" fmla="*/ 229 w 279"/>
                <a:gd name="T51" fmla="*/ 5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9" h="279">
                  <a:moveTo>
                    <a:pt x="216" y="200"/>
                  </a:moveTo>
                  <a:cubicBezTo>
                    <a:pt x="214" y="203"/>
                    <a:pt x="211" y="206"/>
                    <a:pt x="208" y="208"/>
                  </a:cubicBezTo>
                  <a:cubicBezTo>
                    <a:pt x="170" y="246"/>
                    <a:pt x="109" y="246"/>
                    <a:pt x="70" y="208"/>
                  </a:cubicBezTo>
                  <a:cubicBezTo>
                    <a:pt x="68" y="206"/>
                    <a:pt x="66" y="204"/>
                    <a:pt x="64" y="201"/>
                  </a:cubicBezTo>
                  <a:lnTo>
                    <a:pt x="63" y="188"/>
                  </a:lnTo>
                  <a:cubicBezTo>
                    <a:pt x="63" y="175"/>
                    <a:pt x="71" y="164"/>
                    <a:pt x="82" y="161"/>
                  </a:cubicBezTo>
                  <a:lnTo>
                    <a:pt x="105" y="153"/>
                  </a:lnTo>
                  <a:lnTo>
                    <a:pt x="107" y="153"/>
                  </a:lnTo>
                  <a:cubicBezTo>
                    <a:pt x="129" y="150"/>
                    <a:pt x="150" y="150"/>
                    <a:pt x="172" y="153"/>
                  </a:cubicBezTo>
                  <a:lnTo>
                    <a:pt x="197" y="161"/>
                  </a:lnTo>
                  <a:cubicBezTo>
                    <a:pt x="208" y="164"/>
                    <a:pt x="216" y="175"/>
                    <a:pt x="216" y="188"/>
                  </a:cubicBezTo>
                  <a:lnTo>
                    <a:pt x="216" y="200"/>
                  </a:lnTo>
                  <a:close/>
                  <a:moveTo>
                    <a:pt x="131" y="53"/>
                  </a:moveTo>
                  <a:lnTo>
                    <a:pt x="147" y="53"/>
                  </a:lnTo>
                  <a:cubicBezTo>
                    <a:pt x="163" y="53"/>
                    <a:pt x="175" y="66"/>
                    <a:pt x="174" y="81"/>
                  </a:cubicBezTo>
                  <a:lnTo>
                    <a:pt x="170" y="106"/>
                  </a:lnTo>
                  <a:cubicBezTo>
                    <a:pt x="169" y="119"/>
                    <a:pt x="157" y="129"/>
                    <a:pt x="143" y="129"/>
                  </a:cubicBezTo>
                  <a:lnTo>
                    <a:pt x="134" y="129"/>
                  </a:lnTo>
                  <a:cubicBezTo>
                    <a:pt x="120" y="129"/>
                    <a:pt x="109" y="119"/>
                    <a:pt x="107" y="106"/>
                  </a:cubicBezTo>
                  <a:lnTo>
                    <a:pt x="104" y="81"/>
                  </a:lnTo>
                  <a:cubicBezTo>
                    <a:pt x="102" y="66"/>
                    <a:pt x="115" y="53"/>
                    <a:pt x="131" y="53"/>
                  </a:cubicBezTo>
                  <a:close/>
                  <a:moveTo>
                    <a:pt x="229" y="50"/>
                  </a:moveTo>
                  <a:cubicBezTo>
                    <a:pt x="180" y="0"/>
                    <a:pt x="99" y="0"/>
                    <a:pt x="50" y="50"/>
                  </a:cubicBezTo>
                  <a:cubicBezTo>
                    <a:pt x="0" y="99"/>
                    <a:pt x="0" y="180"/>
                    <a:pt x="50" y="229"/>
                  </a:cubicBezTo>
                  <a:cubicBezTo>
                    <a:pt x="99" y="279"/>
                    <a:pt x="180" y="279"/>
                    <a:pt x="229" y="229"/>
                  </a:cubicBezTo>
                  <a:cubicBezTo>
                    <a:pt x="279" y="180"/>
                    <a:pt x="279" y="99"/>
                    <a:pt x="229" y="5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277">
              <a:extLst>
                <a:ext uri="{FF2B5EF4-FFF2-40B4-BE49-F238E27FC236}">
                  <a16:creationId xmlns:a16="http://schemas.microsoft.com/office/drawing/2014/main" id="{915729CD-AEC5-4931-8E9D-808DABB0F587}"/>
                </a:ext>
              </a:extLst>
            </p:cNvPr>
            <p:cNvSpPr>
              <a:spLocks/>
            </p:cNvSpPr>
            <p:nvPr/>
          </p:nvSpPr>
          <p:spPr bwMode="auto">
            <a:xfrm>
              <a:off x="4125913" y="4032251"/>
              <a:ext cx="231775" cy="160338"/>
            </a:xfrm>
            <a:custGeom>
              <a:avLst/>
              <a:gdLst>
                <a:gd name="T0" fmla="*/ 91 w 148"/>
                <a:gd name="T1" fmla="*/ 0 h 103"/>
                <a:gd name="T2" fmla="*/ 90 w 148"/>
                <a:gd name="T3" fmla="*/ 1 h 103"/>
                <a:gd name="T4" fmla="*/ 90 w 148"/>
                <a:gd name="T5" fmla="*/ 34 h 103"/>
                <a:gd name="T6" fmla="*/ 3 w 148"/>
                <a:gd name="T7" fmla="*/ 34 h 103"/>
                <a:gd name="T8" fmla="*/ 0 w 148"/>
                <a:gd name="T9" fmla="*/ 38 h 103"/>
                <a:gd name="T10" fmla="*/ 0 w 148"/>
                <a:gd name="T11" fmla="*/ 65 h 103"/>
                <a:gd name="T12" fmla="*/ 3 w 148"/>
                <a:gd name="T13" fmla="*/ 68 h 103"/>
                <a:gd name="T14" fmla="*/ 90 w 148"/>
                <a:gd name="T15" fmla="*/ 68 h 103"/>
                <a:gd name="T16" fmla="*/ 90 w 148"/>
                <a:gd name="T17" fmla="*/ 102 h 103"/>
                <a:gd name="T18" fmla="*/ 91 w 148"/>
                <a:gd name="T19" fmla="*/ 102 h 103"/>
                <a:gd name="T20" fmla="*/ 148 w 148"/>
                <a:gd name="T21" fmla="*/ 52 h 103"/>
                <a:gd name="T22" fmla="*/ 148 w 148"/>
                <a:gd name="T23" fmla="*/ 51 h 103"/>
                <a:gd name="T24" fmla="*/ 91 w 148"/>
                <a:gd name="T25"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8" h="103">
                  <a:moveTo>
                    <a:pt x="91" y="0"/>
                  </a:moveTo>
                  <a:cubicBezTo>
                    <a:pt x="90" y="0"/>
                    <a:pt x="90" y="0"/>
                    <a:pt x="90" y="1"/>
                  </a:cubicBezTo>
                  <a:lnTo>
                    <a:pt x="90" y="34"/>
                  </a:lnTo>
                  <a:lnTo>
                    <a:pt x="3" y="34"/>
                  </a:lnTo>
                  <a:cubicBezTo>
                    <a:pt x="1" y="34"/>
                    <a:pt x="0" y="36"/>
                    <a:pt x="0" y="38"/>
                  </a:cubicBezTo>
                  <a:lnTo>
                    <a:pt x="0" y="65"/>
                  </a:lnTo>
                  <a:cubicBezTo>
                    <a:pt x="0" y="67"/>
                    <a:pt x="1" y="68"/>
                    <a:pt x="3" y="68"/>
                  </a:cubicBezTo>
                  <a:lnTo>
                    <a:pt x="90" y="68"/>
                  </a:lnTo>
                  <a:lnTo>
                    <a:pt x="90" y="102"/>
                  </a:lnTo>
                  <a:cubicBezTo>
                    <a:pt x="90" y="103"/>
                    <a:pt x="90" y="103"/>
                    <a:pt x="91" y="102"/>
                  </a:cubicBezTo>
                  <a:lnTo>
                    <a:pt x="148" y="52"/>
                  </a:lnTo>
                  <a:cubicBezTo>
                    <a:pt x="148" y="52"/>
                    <a:pt x="148" y="51"/>
                    <a:pt x="148" y="51"/>
                  </a:cubicBezTo>
                  <a:lnTo>
                    <a:pt x="9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278">
              <a:extLst>
                <a:ext uri="{FF2B5EF4-FFF2-40B4-BE49-F238E27FC236}">
                  <a16:creationId xmlns:a16="http://schemas.microsoft.com/office/drawing/2014/main" id="{559FB716-4EA2-4144-9591-387D3A22DCC5}"/>
                </a:ext>
              </a:extLst>
            </p:cNvPr>
            <p:cNvSpPr>
              <a:spLocks/>
            </p:cNvSpPr>
            <p:nvPr/>
          </p:nvSpPr>
          <p:spPr bwMode="auto">
            <a:xfrm>
              <a:off x="4803776" y="4032251"/>
              <a:ext cx="231775" cy="160338"/>
            </a:xfrm>
            <a:custGeom>
              <a:avLst/>
              <a:gdLst>
                <a:gd name="T0" fmla="*/ 58 w 148"/>
                <a:gd name="T1" fmla="*/ 102 h 103"/>
                <a:gd name="T2" fmla="*/ 59 w 148"/>
                <a:gd name="T3" fmla="*/ 102 h 103"/>
                <a:gd name="T4" fmla="*/ 59 w 148"/>
                <a:gd name="T5" fmla="*/ 68 h 103"/>
                <a:gd name="T6" fmla="*/ 145 w 148"/>
                <a:gd name="T7" fmla="*/ 68 h 103"/>
                <a:gd name="T8" fmla="*/ 148 w 148"/>
                <a:gd name="T9" fmla="*/ 65 h 103"/>
                <a:gd name="T10" fmla="*/ 148 w 148"/>
                <a:gd name="T11" fmla="*/ 38 h 103"/>
                <a:gd name="T12" fmla="*/ 145 w 148"/>
                <a:gd name="T13" fmla="*/ 34 h 103"/>
                <a:gd name="T14" fmla="*/ 59 w 148"/>
                <a:gd name="T15" fmla="*/ 34 h 103"/>
                <a:gd name="T16" fmla="*/ 59 w 148"/>
                <a:gd name="T17" fmla="*/ 1 h 103"/>
                <a:gd name="T18" fmla="*/ 58 w 148"/>
                <a:gd name="T19" fmla="*/ 0 h 103"/>
                <a:gd name="T20" fmla="*/ 0 w 148"/>
                <a:gd name="T21" fmla="*/ 51 h 103"/>
                <a:gd name="T22" fmla="*/ 0 w 148"/>
                <a:gd name="T23" fmla="*/ 52 h 103"/>
                <a:gd name="T24" fmla="*/ 58 w 148"/>
                <a:gd name="T25" fmla="*/ 10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8" h="103">
                  <a:moveTo>
                    <a:pt x="58" y="102"/>
                  </a:moveTo>
                  <a:cubicBezTo>
                    <a:pt x="58" y="103"/>
                    <a:pt x="59" y="103"/>
                    <a:pt x="59" y="102"/>
                  </a:cubicBezTo>
                  <a:lnTo>
                    <a:pt x="59" y="68"/>
                  </a:lnTo>
                  <a:lnTo>
                    <a:pt x="145" y="68"/>
                  </a:lnTo>
                  <a:cubicBezTo>
                    <a:pt x="147" y="68"/>
                    <a:pt x="148" y="67"/>
                    <a:pt x="148" y="65"/>
                  </a:cubicBezTo>
                  <a:lnTo>
                    <a:pt x="148" y="38"/>
                  </a:lnTo>
                  <a:cubicBezTo>
                    <a:pt x="148" y="36"/>
                    <a:pt x="147" y="34"/>
                    <a:pt x="145" y="34"/>
                  </a:cubicBezTo>
                  <a:lnTo>
                    <a:pt x="59" y="34"/>
                  </a:lnTo>
                  <a:lnTo>
                    <a:pt x="59" y="1"/>
                  </a:lnTo>
                  <a:cubicBezTo>
                    <a:pt x="59" y="0"/>
                    <a:pt x="58" y="0"/>
                    <a:pt x="58" y="0"/>
                  </a:cubicBezTo>
                  <a:lnTo>
                    <a:pt x="0" y="51"/>
                  </a:lnTo>
                  <a:cubicBezTo>
                    <a:pt x="0" y="51"/>
                    <a:pt x="0" y="52"/>
                    <a:pt x="0" y="52"/>
                  </a:cubicBezTo>
                  <a:lnTo>
                    <a:pt x="58" y="102"/>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Freeform 279">
              <a:extLst>
                <a:ext uri="{FF2B5EF4-FFF2-40B4-BE49-F238E27FC236}">
                  <a16:creationId xmlns:a16="http://schemas.microsoft.com/office/drawing/2014/main" id="{B62D0BFC-EA7F-499F-A5E8-986B1EBB2940}"/>
                </a:ext>
              </a:extLst>
            </p:cNvPr>
            <p:cNvSpPr>
              <a:spLocks/>
            </p:cNvSpPr>
            <p:nvPr/>
          </p:nvSpPr>
          <p:spPr bwMode="auto">
            <a:xfrm>
              <a:off x="4500563" y="3657601"/>
              <a:ext cx="160338" cy="230188"/>
            </a:xfrm>
            <a:custGeom>
              <a:avLst/>
              <a:gdLst>
                <a:gd name="T0" fmla="*/ 103 w 103"/>
                <a:gd name="T1" fmla="*/ 90 h 148"/>
                <a:gd name="T2" fmla="*/ 102 w 103"/>
                <a:gd name="T3" fmla="*/ 89 h 148"/>
                <a:gd name="T4" fmla="*/ 68 w 103"/>
                <a:gd name="T5" fmla="*/ 89 h 148"/>
                <a:gd name="T6" fmla="*/ 68 w 103"/>
                <a:gd name="T7" fmla="*/ 3 h 148"/>
                <a:gd name="T8" fmla="*/ 65 w 103"/>
                <a:gd name="T9" fmla="*/ 0 h 148"/>
                <a:gd name="T10" fmla="*/ 38 w 103"/>
                <a:gd name="T11" fmla="*/ 0 h 148"/>
                <a:gd name="T12" fmla="*/ 35 w 103"/>
                <a:gd name="T13" fmla="*/ 3 h 148"/>
                <a:gd name="T14" fmla="*/ 35 w 103"/>
                <a:gd name="T15" fmla="*/ 89 h 148"/>
                <a:gd name="T16" fmla="*/ 1 w 103"/>
                <a:gd name="T17" fmla="*/ 89 h 148"/>
                <a:gd name="T18" fmla="*/ 0 w 103"/>
                <a:gd name="T19" fmla="*/ 90 h 148"/>
                <a:gd name="T20" fmla="*/ 51 w 103"/>
                <a:gd name="T21" fmla="*/ 147 h 148"/>
                <a:gd name="T22" fmla="*/ 52 w 103"/>
                <a:gd name="T23" fmla="*/ 147 h 148"/>
                <a:gd name="T24" fmla="*/ 103 w 103"/>
                <a:gd name="T25" fmla="*/ 9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48">
                  <a:moveTo>
                    <a:pt x="103" y="90"/>
                  </a:moveTo>
                  <a:cubicBezTo>
                    <a:pt x="103" y="90"/>
                    <a:pt x="103" y="89"/>
                    <a:pt x="102" y="89"/>
                  </a:cubicBezTo>
                  <a:lnTo>
                    <a:pt x="68" y="89"/>
                  </a:lnTo>
                  <a:lnTo>
                    <a:pt x="68" y="3"/>
                  </a:lnTo>
                  <a:cubicBezTo>
                    <a:pt x="68" y="1"/>
                    <a:pt x="67" y="0"/>
                    <a:pt x="65" y="0"/>
                  </a:cubicBezTo>
                  <a:lnTo>
                    <a:pt x="38" y="0"/>
                  </a:lnTo>
                  <a:cubicBezTo>
                    <a:pt x="36" y="0"/>
                    <a:pt x="35" y="1"/>
                    <a:pt x="35" y="3"/>
                  </a:cubicBezTo>
                  <a:lnTo>
                    <a:pt x="35" y="89"/>
                  </a:lnTo>
                  <a:lnTo>
                    <a:pt x="1" y="89"/>
                  </a:lnTo>
                  <a:cubicBezTo>
                    <a:pt x="0" y="89"/>
                    <a:pt x="0" y="90"/>
                    <a:pt x="0" y="90"/>
                  </a:cubicBezTo>
                  <a:lnTo>
                    <a:pt x="51" y="147"/>
                  </a:lnTo>
                  <a:cubicBezTo>
                    <a:pt x="51" y="148"/>
                    <a:pt x="52" y="148"/>
                    <a:pt x="52" y="147"/>
                  </a:cubicBezTo>
                  <a:lnTo>
                    <a:pt x="103" y="9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280">
              <a:extLst>
                <a:ext uri="{FF2B5EF4-FFF2-40B4-BE49-F238E27FC236}">
                  <a16:creationId xmlns:a16="http://schemas.microsoft.com/office/drawing/2014/main" id="{DAF1DF5E-F8D2-4AF4-A555-3F72F3F6F2E4}"/>
                </a:ext>
              </a:extLst>
            </p:cNvPr>
            <p:cNvSpPr>
              <a:spLocks/>
            </p:cNvSpPr>
            <p:nvPr/>
          </p:nvSpPr>
          <p:spPr bwMode="auto">
            <a:xfrm>
              <a:off x="4500563" y="4337051"/>
              <a:ext cx="160338" cy="230188"/>
            </a:xfrm>
            <a:custGeom>
              <a:avLst/>
              <a:gdLst>
                <a:gd name="T0" fmla="*/ 0 w 103"/>
                <a:gd name="T1" fmla="*/ 57 h 148"/>
                <a:gd name="T2" fmla="*/ 1 w 103"/>
                <a:gd name="T3" fmla="*/ 58 h 148"/>
                <a:gd name="T4" fmla="*/ 35 w 103"/>
                <a:gd name="T5" fmla="*/ 58 h 148"/>
                <a:gd name="T6" fmla="*/ 35 w 103"/>
                <a:gd name="T7" fmla="*/ 145 h 148"/>
                <a:gd name="T8" fmla="*/ 38 w 103"/>
                <a:gd name="T9" fmla="*/ 148 h 148"/>
                <a:gd name="T10" fmla="*/ 65 w 103"/>
                <a:gd name="T11" fmla="*/ 148 h 148"/>
                <a:gd name="T12" fmla="*/ 68 w 103"/>
                <a:gd name="T13" fmla="*/ 145 h 148"/>
                <a:gd name="T14" fmla="*/ 68 w 103"/>
                <a:gd name="T15" fmla="*/ 58 h 148"/>
                <a:gd name="T16" fmla="*/ 102 w 103"/>
                <a:gd name="T17" fmla="*/ 58 h 148"/>
                <a:gd name="T18" fmla="*/ 103 w 103"/>
                <a:gd name="T19" fmla="*/ 57 h 148"/>
                <a:gd name="T20" fmla="*/ 52 w 103"/>
                <a:gd name="T21" fmla="*/ 0 h 148"/>
                <a:gd name="T22" fmla="*/ 51 w 103"/>
                <a:gd name="T23" fmla="*/ 0 h 148"/>
                <a:gd name="T24" fmla="*/ 0 w 103"/>
                <a:gd name="T25" fmla="*/ 57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48">
                  <a:moveTo>
                    <a:pt x="0" y="57"/>
                  </a:moveTo>
                  <a:cubicBezTo>
                    <a:pt x="0" y="58"/>
                    <a:pt x="0" y="58"/>
                    <a:pt x="1" y="58"/>
                  </a:cubicBezTo>
                  <a:lnTo>
                    <a:pt x="35" y="58"/>
                  </a:lnTo>
                  <a:lnTo>
                    <a:pt x="35" y="145"/>
                  </a:lnTo>
                  <a:cubicBezTo>
                    <a:pt x="35" y="147"/>
                    <a:pt x="36" y="148"/>
                    <a:pt x="38" y="148"/>
                  </a:cubicBezTo>
                  <a:lnTo>
                    <a:pt x="65" y="148"/>
                  </a:lnTo>
                  <a:cubicBezTo>
                    <a:pt x="67" y="148"/>
                    <a:pt x="68" y="147"/>
                    <a:pt x="68" y="145"/>
                  </a:cubicBezTo>
                  <a:lnTo>
                    <a:pt x="68" y="58"/>
                  </a:lnTo>
                  <a:lnTo>
                    <a:pt x="102" y="58"/>
                  </a:lnTo>
                  <a:cubicBezTo>
                    <a:pt x="103" y="58"/>
                    <a:pt x="103" y="58"/>
                    <a:pt x="103" y="57"/>
                  </a:cubicBezTo>
                  <a:lnTo>
                    <a:pt x="52" y="0"/>
                  </a:lnTo>
                  <a:cubicBezTo>
                    <a:pt x="52" y="0"/>
                    <a:pt x="51" y="0"/>
                    <a:pt x="51" y="0"/>
                  </a:cubicBezTo>
                  <a:lnTo>
                    <a:pt x="0"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91" name="Happy_face2" descr="{&quot;Key&quot;:&quot;POWER_USER_SHAPE_ICON&quot;,&quot;Value&quot;:&quot;POWER_USER_SHAPE_ICON_STYLE_1&quot;}">
            <a:extLst>
              <a:ext uri="{FF2B5EF4-FFF2-40B4-BE49-F238E27FC236}">
                <a16:creationId xmlns:a16="http://schemas.microsoft.com/office/drawing/2014/main" id="{DC8E9457-D5BD-4F6A-B710-5063F36DB87C}"/>
              </a:ext>
            </a:extLst>
          </p:cNvPr>
          <p:cNvSpPr>
            <a:spLocks noChangeAspect="1" noChangeArrowheads="1"/>
          </p:cNvSpPr>
          <p:nvPr>
            <p:custDataLst>
              <p:tags r:id="rId5"/>
            </p:custDataLst>
          </p:nvPr>
        </p:nvSpPr>
        <p:spPr bwMode="auto">
          <a:xfrm>
            <a:off x="10135595" y="2854637"/>
            <a:ext cx="542930" cy="542925"/>
          </a:xfrm>
          <a:custGeom>
            <a:avLst/>
            <a:gdLst>
              <a:gd name="T0" fmla="*/ 361 w 534"/>
              <a:gd name="T1" fmla="*/ 239 h 535"/>
              <a:gd name="T2" fmla="*/ 401 w 534"/>
              <a:gd name="T3" fmla="*/ 204 h 535"/>
              <a:gd name="T4" fmla="*/ 361 w 534"/>
              <a:gd name="T5" fmla="*/ 163 h 535"/>
              <a:gd name="T6" fmla="*/ 320 w 534"/>
              <a:gd name="T7" fmla="*/ 204 h 535"/>
              <a:gd name="T8" fmla="*/ 361 w 534"/>
              <a:gd name="T9" fmla="*/ 239 h 535"/>
              <a:gd name="T10" fmla="*/ 173 w 534"/>
              <a:gd name="T11" fmla="*/ 239 h 535"/>
              <a:gd name="T12" fmla="*/ 213 w 534"/>
              <a:gd name="T13" fmla="*/ 204 h 535"/>
              <a:gd name="T14" fmla="*/ 173 w 534"/>
              <a:gd name="T15" fmla="*/ 163 h 535"/>
              <a:gd name="T16" fmla="*/ 132 w 534"/>
              <a:gd name="T17" fmla="*/ 204 h 535"/>
              <a:gd name="T18" fmla="*/ 173 w 534"/>
              <a:gd name="T19" fmla="*/ 239 h 535"/>
              <a:gd name="T20" fmla="*/ 269 w 534"/>
              <a:gd name="T21" fmla="*/ 427 h 535"/>
              <a:gd name="T22" fmla="*/ 416 w 534"/>
              <a:gd name="T23" fmla="*/ 321 h 535"/>
              <a:gd name="T24" fmla="*/ 117 w 534"/>
              <a:gd name="T25" fmla="*/ 321 h 535"/>
              <a:gd name="T26" fmla="*/ 269 w 534"/>
              <a:gd name="T27" fmla="*/ 427 h 535"/>
              <a:gd name="T28" fmla="*/ 269 w 534"/>
              <a:gd name="T29" fmla="*/ 0 h 535"/>
              <a:gd name="T30" fmla="*/ 0 w 534"/>
              <a:gd name="T31" fmla="*/ 270 h 535"/>
              <a:gd name="T32" fmla="*/ 269 w 534"/>
              <a:gd name="T33" fmla="*/ 534 h 535"/>
              <a:gd name="T34" fmla="*/ 533 w 534"/>
              <a:gd name="T35" fmla="*/ 270 h 535"/>
              <a:gd name="T36" fmla="*/ 269 w 534"/>
              <a:gd name="T37" fmla="*/ 0 h 535"/>
              <a:gd name="T38" fmla="*/ 269 w 534"/>
              <a:gd name="T39" fmla="*/ 478 h 535"/>
              <a:gd name="T40" fmla="*/ 56 w 534"/>
              <a:gd name="T41" fmla="*/ 270 h 535"/>
              <a:gd name="T42" fmla="*/ 269 w 534"/>
              <a:gd name="T43" fmla="*/ 56 h 535"/>
              <a:gd name="T44" fmla="*/ 477 w 534"/>
              <a:gd name="T45" fmla="*/ 270 h 535"/>
              <a:gd name="T46" fmla="*/ 269 w 534"/>
              <a:gd name="T47" fmla="*/ 478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4" h="535">
                <a:moveTo>
                  <a:pt x="361" y="239"/>
                </a:moveTo>
                <a:cubicBezTo>
                  <a:pt x="381" y="239"/>
                  <a:pt x="401" y="227"/>
                  <a:pt x="401" y="204"/>
                </a:cubicBezTo>
                <a:cubicBezTo>
                  <a:pt x="401" y="181"/>
                  <a:pt x="381" y="163"/>
                  <a:pt x="361" y="163"/>
                </a:cubicBezTo>
                <a:cubicBezTo>
                  <a:pt x="340" y="163"/>
                  <a:pt x="320" y="181"/>
                  <a:pt x="320" y="204"/>
                </a:cubicBezTo>
                <a:cubicBezTo>
                  <a:pt x="320" y="227"/>
                  <a:pt x="340" y="239"/>
                  <a:pt x="361" y="239"/>
                </a:cubicBezTo>
                <a:close/>
                <a:moveTo>
                  <a:pt x="173" y="239"/>
                </a:moveTo>
                <a:cubicBezTo>
                  <a:pt x="193" y="239"/>
                  <a:pt x="213" y="227"/>
                  <a:pt x="213" y="204"/>
                </a:cubicBezTo>
                <a:cubicBezTo>
                  <a:pt x="213" y="181"/>
                  <a:pt x="193" y="163"/>
                  <a:pt x="173" y="163"/>
                </a:cubicBezTo>
                <a:cubicBezTo>
                  <a:pt x="152" y="163"/>
                  <a:pt x="132" y="181"/>
                  <a:pt x="132" y="204"/>
                </a:cubicBezTo>
                <a:cubicBezTo>
                  <a:pt x="132" y="227"/>
                  <a:pt x="152" y="239"/>
                  <a:pt x="173" y="239"/>
                </a:cubicBezTo>
                <a:close/>
                <a:moveTo>
                  <a:pt x="269" y="427"/>
                </a:moveTo>
                <a:cubicBezTo>
                  <a:pt x="335" y="427"/>
                  <a:pt x="396" y="382"/>
                  <a:pt x="416" y="321"/>
                </a:cubicBezTo>
                <a:lnTo>
                  <a:pt x="117" y="321"/>
                </a:lnTo>
                <a:cubicBezTo>
                  <a:pt x="137" y="382"/>
                  <a:pt x="198" y="427"/>
                  <a:pt x="269" y="427"/>
                </a:cubicBezTo>
                <a:close/>
                <a:moveTo>
                  <a:pt x="269" y="0"/>
                </a:moveTo>
                <a:cubicBezTo>
                  <a:pt x="122" y="0"/>
                  <a:pt x="0" y="125"/>
                  <a:pt x="0" y="270"/>
                </a:cubicBezTo>
                <a:cubicBezTo>
                  <a:pt x="0" y="415"/>
                  <a:pt x="124" y="534"/>
                  <a:pt x="269" y="534"/>
                </a:cubicBezTo>
                <a:cubicBezTo>
                  <a:pt x="414" y="534"/>
                  <a:pt x="533" y="415"/>
                  <a:pt x="533" y="270"/>
                </a:cubicBezTo>
                <a:cubicBezTo>
                  <a:pt x="533" y="125"/>
                  <a:pt x="411" y="0"/>
                  <a:pt x="269" y="0"/>
                </a:cubicBezTo>
                <a:close/>
                <a:moveTo>
                  <a:pt x="269" y="478"/>
                </a:moveTo>
                <a:cubicBezTo>
                  <a:pt x="152" y="478"/>
                  <a:pt x="56" y="387"/>
                  <a:pt x="56" y="270"/>
                </a:cubicBezTo>
                <a:cubicBezTo>
                  <a:pt x="56" y="153"/>
                  <a:pt x="152" y="56"/>
                  <a:pt x="269" y="56"/>
                </a:cubicBezTo>
                <a:cubicBezTo>
                  <a:pt x="386" y="56"/>
                  <a:pt x="477" y="153"/>
                  <a:pt x="477" y="270"/>
                </a:cubicBezTo>
                <a:cubicBezTo>
                  <a:pt x="477" y="387"/>
                  <a:pt x="386" y="478"/>
                  <a:pt x="269" y="478"/>
                </a:cubicBezTo>
                <a:close/>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1068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94CEF-094B-42D8-B73D-86AD300DE829}"/>
              </a:ext>
            </a:extLst>
          </p:cNvPr>
          <p:cNvSpPr>
            <a:spLocks noGrp="1"/>
          </p:cNvSpPr>
          <p:nvPr>
            <p:ph type="title"/>
          </p:nvPr>
        </p:nvSpPr>
        <p:spPr/>
        <p:txBody>
          <a:bodyPr/>
          <a:lstStyle/>
          <a:p>
            <a:r>
              <a:rPr lang="en-GB" dirty="0"/>
              <a:t>TESTING AND INNOVATION SCHEME</a:t>
            </a:r>
          </a:p>
        </p:txBody>
      </p:sp>
      <p:sp>
        <p:nvSpPr>
          <p:cNvPr id="3" name="Text Placeholder 2">
            <a:extLst>
              <a:ext uri="{FF2B5EF4-FFF2-40B4-BE49-F238E27FC236}">
                <a16:creationId xmlns:a16="http://schemas.microsoft.com/office/drawing/2014/main" id="{A51DF2B8-C9A3-4C80-ACD1-0388AAE23015}"/>
              </a:ext>
            </a:extLst>
          </p:cNvPr>
          <p:cNvSpPr>
            <a:spLocks noGrp="1"/>
          </p:cNvSpPr>
          <p:nvPr>
            <p:ph type="body"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C1C20DB4-EAE7-4246-A4C6-1E3B22CCB884}"/>
              </a:ext>
            </a:extLst>
          </p:cNvPr>
          <p:cNvSpPr>
            <a:spLocks noGrp="1"/>
          </p:cNvSpPr>
          <p:nvPr>
            <p:ph type="sldNum" sz="quarter" idx="15"/>
          </p:nvPr>
        </p:nvSpPr>
        <p:spPr/>
        <p:txBody>
          <a:bodyPr/>
          <a:lstStyle/>
          <a:p>
            <a:fld id="{3787542D-5C6B-4EB3-96EB-9B37C3D5D2F8}" type="slidenum">
              <a:rPr lang="en-GB" smtClean="0"/>
              <a:t>12</a:t>
            </a:fld>
            <a:endParaRPr lang="en-GB" dirty="0"/>
          </a:p>
        </p:txBody>
      </p:sp>
      <p:pic>
        <p:nvPicPr>
          <p:cNvPr id="6" name="Graphic 5" descr="Internet">
            <a:hlinkClick r:id="rId2"/>
            <a:extLst>
              <a:ext uri="{FF2B5EF4-FFF2-40B4-BE49-F238E27FC236}">
                <a16:creationId xmlns:a16="http://schemas.microsoft.com/office/drawing/2014/main" id="{18A27410-0A51-4B70-A1B7-607844B5C62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967765" y="4615023"/>
            <a:ext cx="634435" cy="634435"/>
          </a:xfrm>
          <a:prstGeom prst="rect">
            <a:avLst/>
          </a:prstGeom>
        </p:spPr>
      </p:pic>
      <p:sp>
        <p:nvSpPr>
          <p:cNvPr id="7" name="Rectangle 6">
            <a:extLst>
              <a:ext uri="{FF2B5EF4-FFF2-40B4-BE49-F238E27FC236}">
                <a16:creationId xmlns:a16="http://schemas.microsoft.com/office/drawing/2014/main" id="{A5B40A51-35E8-4D36-8BFB-E658FCFCB792}"/>
              </a:ext>
            </a:extLst>
          </p:cNvPr>
          <p:cNvSpPr/>
          <p:nvPr/>
        </p:nvSpPr>
        <p:spPr>
          <a:xfrm>
            <a:off x="6475593" y="2632227"/>
            <a:ext cx="4511386" cy="459425"/>
          </a:xfrm>
          <a:prstGeom prst="rect">
            <a:avLst/>
          </a:prstGeom>
          <a:ln>
            <a:solidFill>
              <a:schemeClr val="accent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latin typeface="+mj-lt"/>
              </a:rPr>
              <a:t>BUSINESS MAIL</a:t>
            </a:r>
          </a:p>
        </p:txBody>
      </p:sp>
      <p:sp>
        <p:nvSpPr>
          <p:cNvPr id="8" name="Rectangle 7">
            <a:extLst>
              <a:ext uri="{FF2B5EF4-FFF2-40B4-BE49-F238E27FC236}">
                <a16:creationId xmlns:a16="http://schemas.microsoft.com/office/drawing/2014/main" id="{C9E1FBD6-C9C2-408D-B1D3-38B462481642}"/>
              </a:ext>
            </a:extLst>
          </p:cNvPr>
          <p:cNvSpPr/>
          <p:nvPr/>
        </p:nvSpPr>
        <p:spPr>
          <a:xfrm>
            <a:off x="6475593" y="3142932"/>
            <a:ext cx="4511386" cy="611495"/>
          </a:xfrm>
          <a:prstGeom prst="rect">
            <a:avLst/>
          </a:prstGeom>
          <a:solidFill>
            <a:schemeClr val="tx1"/>
          </a:solidFill>
          <a:ln>
            <a:solidFill>
              <a:schemeClr val="tx2"/>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Test image technology</a:t>
            </a:r>
          </a:p>
        </p:txBody>
      </p:sp>
      <p:sp>
        <p:nvSpPr>
          <p:cNvPr id="9" name="Rectangle 8">
            <a:extLst>
              <a:ext uri="{FF2B5EF4-FFF2-40B4-BE49-F238E27FC236}">
                <a16:creationId xmlns:a16="http://schemas.microsoft.com/office/drawing/2014/main" id="{2C3DAA56-1269-4B73-8FF6-3BBE62F507B2}"/>
              </a:ext>
            </a:extLst>
          </p:cNvPr>
          <p:cNvSpPr/>
          <p:nvPr/>
        </p:nvSpPr>
        <p:spPr>
          <a:xfrm>
            <a:off x="6475593" y="3817329"/>
            <a:ext cx="4511386" cy="1086621"/>
          </a:xfrm>
          <a:prstGeom prst="rect">
            <a:avLst/>
          </a:prstGeom>
          <a:solidFill>
            <a:schemeClr val="accent1"/>
          </a:solidFill>
          <a:ln>
            <a:solidFill>
              <a:schemeClr val="accent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t>To qualify you must carry out the test over a period of up to six months with the option to roll-out over a further six months. </a:t>
            </a:r>
          </a:p>
          <a:p>
            <a:pPr algn="ctr"/>
            <a:r>
              <a:rPr lang="en-GB" sz="1400" dirty="0"/>
              <a:t>You can test as few as 10,000 mailing items </a:t>
            </a:r>
          </a:p>
          <a:p>
            <a:pPr algn="ctr"/>
            <a:r>
              <a:rPr lang="en-GB" sz="1400" dirty="0"/>
              <a:t>and as many as a 10 million incremental items</a:t>
            </a:r>
          </a:p>
        </p:txBody>
      </p:sp>
      <p:sp>
        <p:nvSpPr>
          <p:cNvPr id="10" name="Rectangle 9">
            <a:extLst>
              <a:ext uri="{FF2B5EF4-FFF2-40B4-BE49-F238E27FC236}">
                <a16:creationId xmlns:a16="http://schemas.microsoft.com/office/drawing/2014/main" id="{0F2CEF9D-E595-4948-A240-42ED6C16D3EA}"/>
              </a:ext>
            </a:extLst>
          </p:cNvPr>
          <p:cNvSpPr/>
          <p:nvPr/>
        </p:nvSpPr>
        <p:spPr>
          <a:xfrm>
            <a:off x="6475593" y="4935920"/>
            <a:ext cx="4511386" cy="984820"/>
          </a:xfrm>
          <a:prstGeom prst="rect">
            <a:avLst/>
          </a:prstGeom>
          <a:solidFill>
            <a:schemeClr val="tx1"/>
          </a:solidFill>
          <a:ln>
            <a:solidFill>
              <a:schemeClr val="tx2"/>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For example:  use image technology to link consumers to a their account</a:t>
            </a:r>
          </a:p>
        </p:txBody>
      </p:sp>
      <p:sp>
        <p:nvSpPr>
          <p:cNvPr id="11" name="Rectangle 10">
            <a:extLst>
              <a:ext uri="{FF2B5EF4-FFF2-40B4-BE49-F238E27FC236}">
                <a16:creationId xmlns:a16="http://schemas.microsoft.com/office/drawing/2014/main" id="{0AF71C2D-2332-4385-951F-4F3C9C7A8429}"/>
              </a:ext>
            </a:extLst>
          </p:cNvPr>
          <p:cNvSpPr/>
          <p:nvPr/>
        </p:nvSpPr>
        <p:spPr>
          <a:xfrm>
            <a:off x="6475593" y="1778000"/>
            <a:ext cx="4511386" cy="771678"/>
          </a:xfrm>
          <a:prstGeom prst="rect">
            <a:avLst/>
          </a:prstGeom>
          <a:solidFill>
            <a:schemeClr val="bg1">
              <a:lumMod val="95000"/>
            </a:schemeClr>
          </a:solidFill>
          <a:ln>
            <a:solidFill>
              <a:schemeClr val="bg1">
                <a:lumMod val="95000"/>
              </a:schemeClr>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5400" dirty="0">
                <a:solidFill>
                  <a:schemeClr val="tx1"/>
                </a:solidFill>
                <a:latin typeface="+mj-lt"/>
              </a:rPr>
              <a:t>SAVE</a:t>
            </a:r>
            <a:r>
              <a:rPr lang="en-GB" dirty="0">
                <a:solidFill>
                  <a:schemeClr val="tx1"/>
                </a:solidFill>
                <a:latin typeface="+mj-lt"/>
              </a:rPr>
              <a:t> UP TO </a:t>
            </a:r>
            <a:r>
              <a:rPr lang="en-GB" sz="5400" dirty="0">
                <a:solidFill>
                  <a:schemeClr val="accent1"/>
                </a:solidFill>
                <a:latin typeface="+mj-lt"/>
              </a:rPr>
              <a:t>30</a:t>
            </a:r>
            <a:r>
              <a:rPr lang="en-GB" sz="3600" baseline="80000" dirty="0">
                <a:solidFill>
                  <a:schemeClr val="accent1"/>
                </a:solidFill>
                <a:latin typeface="+mj-lt"/>
              </a:rPr>
              <a:t>%</a:t>
            </a:r>
            <a:r>
              <a:rPr lang="en-GB" dirty="0">
                <a:solidFill>
                  <a:schemeClr val="tx1"/>
                </a:solidFill>
                <a:latin typeface="+mj-lt"/>
              </a:rPr>
              <a:t> OFF</a:t>
            </a:r>
            <a:r>
              <a:rPr lang="en-GB" dirty="0">
                <a:solidFill>
                  <a:schemeClr val="tx1"/>
                </a:solidFill>
                <a:latin typeface="Impact" panose="020B0806030902050204" pitchFamily="34" charset="0"/>
              </a:rPr>
              <a:t> *</a:t>
            </a:r>
            <a:endParaRPr lang="en-GB" dirty="0">
              <a:solidFill>
                <a:schemeClr val="tx1"/>
              </a:solidFill>
              <a:latin typeface="+mj-lt"/>
            </a:endParaRPr>
          </a:p>
        </p:txBody>
      </p:sp>
      <p:sp>
        <p:nvSpPr>
          <p:cNvPr id="13" name="Rectangle 12">
            <a:extLst>
              <a:ext uri="{FF2B5EF4-FFF2-40B4-BE49-F238E27FC236}">
                <a16:creationId xmlns:a16="http://schemas.microsoft.com/office/drawing/2014/main" id="{CDAF2B58-0BE1-4604-A096-5E4D9EED008B}"/>
              </a:ext>
            </a:extLst>
          </p:cNvPr>
          <p:cNvSpPr/>
          <p:nvPr/>
        </p:nvSpPr>
        <p:spPr>
          <a:xfrm>
            <a:off x="1215050" y="2639847"/>
            <a:ext cx="4511386" cy="459425"/>
          </a:xfrm>
          <a:prstGeom prst="rect">
            <a:avLst/>
          </a:prstGeom>
          <a:ln>
            <a:solidFill>
              <a:schemeClr val="accent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latin typeface="+mj-lt"/>
              </a:rPr>
              <a:t>ADVERTISING MAIL</a:t>
            </a:r>
          </a:p>
        </p:txBody>
      </p:sp>
      <p:sp>
        <p:nvSpPr>
          <p:cNvPr id="14" name="Rectangle 13">
            <a:extLst>
              <a:ext uri="{FF2B5EF4-FFF2-40B4-BE49-F238E27FC236}">
                <a16:creationId xmlns:a16="http://schemas.microsoft.com/office/drawing/2014/main" id="{C0B43B97-405E-4684-AE48-F2FF22110B41}"/>
              </a:ext>
            </a:extLst>
          </p:cNvPr>
          <p:cNvSpPr/>
          <p:nvPr/>
        </p:nvSpPr>
        <p:spPr>
          <a:xfrm>
            <a:off x="1215050" y="3150552"/>
            <a:ext cx="4511386" cy="611495"/>
          </a:xfrm>
          <a:prstGeom prst="rect">
            <a:avLst/>
          </a:prstGeom>
          <a:solidFill>
            <a:schemeClr val="tx1"/>
          </a:solidFill>
          <a:ln>
            <a:solidFill>
              <a:schemeClr val="tx2"/>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Test image technology</a:t>
            </a:r>
          </a:p>
        </p:txBody>
      </p:sp>
      <p:sp>
        <p:nvSpPr>
          <p:cNvPr id="15" name="Rectangle 14">
            <a:extLst>
              <a:ext uri="{FF2B5EF4-FFF2-40B4-BE49-F238E27FC236}">
                <a16:creationId xmlns:a16="http://schemas.microsoft.com/office/drawing/2014/main" id="{4FB37F1A-697D-4326-B88F-DFF94728E24A}"/>
              </a:ext>
            </a:extLst>
          </p:cNvPr>
          <p:cNvSpPr/>
          <p:nvPr/>
        </p:nvSpPr>
        <p:spPr>
          <a:xfrm>
            <a:off x="1215050" y="3824949"/>
            <a:ext cx="4511386" cy="1086621"/>
          </a:xfrm>
          <a:prstGeom prst="rect">
            <a:avLst/>
          </a:prstGeom>
          <a:solidFill>
            <a:schemeClr val="accent1"/>
          </a:solidFill>
          <a:ln>
            <a:solidFill>
              <a:schemeClr val="accent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t>To qualify you must carry out the test over a period of up to six months. </a:t>
            </a:r>
          </a:p>
          <a:p>
            <a:pPr algn="ctr"/>
            <a:r>
              <a:rPr lang="en-GB" sz="1400" dirty="0"/>
              <a:t>You can test as few as 10,000 mailing items </a:t>
            </a:r>
          </a:p>
          <a:p>
            <a:pPr algn="ctr"/>
            <a:r>
              <a:rPr lang="en-GB" sz="1400" dirty="0"/>
              <a:t>and as many as a million</a:t>
            </a:r>
          </a:p>
        </p:txBody>
      </p:sp>
      <p:sp>
        <p:nvSpPr>
          <p:cNvPr id="16" name="Rectangle 15">
            <a:extLst>
              <a:ext uri="{FF2B5EF4-FFF2-40B4-BE49-F238E27FC236}">
                <a16:creationId xmlns:a16="http://schemas.microsoft.com/office/drawing/2014/main" id="{220A5E2F-411C-46B9-8AAE-A74852FC0604}"/>
              </a:ext>
            </a:extLst>
          </p:cNvPr>
          <p:cNvSpPr/>
          <p:nvPr/>
        </p:nvSpPr>
        <p:spPr>
          <a:xfrm>
            <a:off x="1215050" y="4943540"/>
            <a:ext cx="4511386" cy="984820"/>
          </a:xfrm>
          <a:prstGeom prst="rect">
            <a:avLst/>
          </a:prstGeom>
          <a:solidFill>
            <a:schemeClr val="tx1"/>
          </a:solidFill>
          <a:ln>
            <a:solidFill>
              <a:schemeClr val="tx2"/>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For example:  use image technology to link consumers to a digital experience</a:t>
            </a:r>
          </a:p>
        </p:txBody>
      </p:sp>
      <p:sp>
        <p:nvSpPr>
          <p:cNvPr id="17" name="Rectangle 16">
            <a:extLst>
              <a:ext uri="{FF2B5EF4-FFF2-40B4-BE49-F238E27FC236}">
                <a16:creationId xmlns:a16="http://schemas.microsoft.com/office/drawing/2014/main" id="{69B361BA-C7F7-4EB4-B461-1A522E4BFC18}"/>
              </a:ext>
            </a:extLst>
          </p:cNvPr>
          <p:cNvSpPr/>
          <p:nvPr/>
        </p:nvSpPr>
        <p:spPr>
          <a:xfrm>
            <a:off x="1215050" y="1781810"/>
            <a:ext cx="4511386" cy="771678"/>
          </a:xfrm>
          <a:prstGeom prst="rect">
            <a:avLst/>
          </a:prstGeom>
          <a:solidFill>
            <a:schemeClr val="bg1">
              <a:lumMod val="95000"/>
            </a:schemeClr>
          </a:solidFill>
          <a:ln>
            <a:solidFill>
              <a:schemeClr val="bg1">
                <a:lumMod val="95000"/>
              </a:schemeClr>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5400" dirty="0">
                <a:solidFill>
                  <a:schemeClr val="tx1"/>
                </a:solidFill>
                <a:latin typeface="+mj-lt"/>
              </a:rPr>
              <a:t>SAVE</a:t>
            </a:r>
            <a:r>
              <a:rPr lang="en-GB" dirty="0">
                <a:solidFill>
                  <a:schemeClr val="tx1"/>
                </a:solidFill>
                <a:latin typeface="+mj-lt"/>
              </a:rPr>
              <a:t> UP TO </a:t>
            </a:r>
            <a:r>
              <a:rPr lang="en-GB" sz="5400" dirty="0">
                <a:solidFill>
                  <a:schemeClr val="accent1"/>
                </a:solidFill>
                <a:latin typeface="+mj-lt"/>
              </a:rPr>
              <a:t>15</a:t>
            </a:r>
            <a:r>
              <a:rPr lang="en-GB" sz="3600" baseline="80000" dirty="0">
                <a:solidFill>
                  <a:schemeClr val="accent1"/>
                </a:solidFill>
                <a:latin typeface="+mj-lt"/>
              </a:rPr>
              <a:t>%</a:t>
            </a:r>
            <a:r>
              <a:rPr lang="en-GB" sz="1600" dirty="0">
                <a:solidFill>
                  <a:schemeClr val="tx1"/>
                </a:solidFill>
                <a:latin typeface="+mj-lt"/>
              </a:rPr>
              <a:t> </a:t>
            </a:r>
            <a:r>
              <a:rPr lang="en-GB" dirty="0">
                <a:solidFill>
                  <a:schemeClr val="tx1"/>
                </a:solidFill>
                <a:latin typeface="+mj-lt"/>
              </a:rPr>
              <a:t>OFF </a:t>
            </a:r>
            <a:r>
              <a:rPr lang="en-GB" dirty="0">
                <a:solidFill>
                  <a:schemeClr val="tx1"/>
                </a:solidFill>
                <a:latin typeface="Impact" panose="020B0806030902050204" pitchFamily="34" charset="0"/>
              </a:rPr>
              <a:t>*</a:t>
            </a:r>
          </a:p>
        </p:txBody>
      </p:sp>
      <p:sp>
        <p:nvSpPr>
          <p:cNvPr id="18" name="TextBox 17">
            <a:extLst>
              <a:ext uri="{FF2B5EF4-FFF2-40B4-BE49-F238E27FC236}">
                <a16:creationId xmlns:a16="http://schemas.microsoft.com/office/drawing/2014/main" id="{29FCFA19-2DA1-4734-8F46-7EB08DEFFDA4}"/>
              </a:ext>
            </a:extLst>
          </p:cNvPr>
          <p:cNvSpPr txBox="1"/>
          <p:nvPr/>
        </p:nvSpPr>
        <p:spPr>
          <a:xfrm>
            <a:off x="1128123" y="5941710"/>
            <a:ext cx="3701143" cy="261610"/>
          </a:xfrm>
          <a:prstGeom prst="rect">
            <a:avLst/>
          </a:prstGeom>
          <a:noFill/>
        </p:spPr>
        <p:txBody>
          <a:bodyPr wrap="square" rtlCol="0">
            <a:spAutoFit/>
          </a:bodyPr>
          <a:lstStyle/>
          <a:p>
            <a:r>
              <a:rPr lang="en-GB" sz="1100" dirty="0"/>
              <a:t>* Full terms and conditions apply</a:t>
            </a:r>
          </a:p>
        </p:txBody>
      </p:sp>
    </p:spTree>
    <p:extLst>
      <p:ext uri="{BB962C8B-B14F-4D97-AF65-F5344CB8AC3E}">
        <p14:creationId xmlns:p14="http://schemas.microsoft.com/office/powerpoint/2010/main" val="3665497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1716D9-1E1D-4042-98CB-40CC595F582F}"/>
              </a:ext>
            </a:extLst>
          </p:cNvPr>
          <p:cNvSpPr>
            <a:spLocks noGrp="1"/>
          </p:cNvSpPr>
          <p:nvPr>
            <p:ph type="title"/>
          </p:nvPr>
        </p:nvSpPr>
        <p:spPr/>
        <p:txBody>
          <a:bodyPr/>
          <a:lstStyle/>
          <a:p>
            <a:r>
              <a:rPr lang="en-GB" dirty="0"/>
              <a:t>THANK YOU</a:t>
            </a:r>
          </a:p>
        </p:txBody>
      </p:sp>
      <p:sp>
        <p:nvSpPr>
          <p:cNvPr id="3" name="Subtitle 2">
            <a:extLst>
              <a:ext uri="{FF2B5EF4-FFF2-40B4-BE49-F238E27FC236}">
                <a16:creationId xmlns:a16="http://schemas.microsoft.com/office/drawing/2014/main" id="{78DDB7B8-F1CD-4253-A34F-B14C48DFB41C}"/>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41849389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AA9B8-E68C-4F12-B742-25EEAB823390}"/>
              </a:ext>
            </a:extLst>
          </p:cNvPr>
          <p:cNvSpPr>
            <a:spLocks noGrp="1"/>
          </p:cNvSpPr>
          <p:nvPr>
            <p:ph type="title"/>
          </p:nvPr>
        </p:nvSpPr>
        <p:spPr/>
        <p:txBody>
          <a:bodyPr/>
          <a:lstStyle/>
          <a:p>
            <a:r>
              <a:rPr lang="en-GB" dirty="0"/>
              <a:t>Mail drives high engagement</a:t>
            </a:r>
          </a:p>
        </p:txBody>
      </p:sp>
      <p:sp>
        <p:nvSpPr>
          <p:cNvPr id="3" name="Text Placeholder 2">
            <a:extLst>
              <a:ext uri="{FF2B5EF4-FFF2-40B4-BE49-F238E27FC236}">
                <a16:creationId xmlns:a16="http://schemas.microsoft.com/office/drawing/2014/main" id="{F4C1CFF0-496A-408C-8ECC-37458BE92C4D}"/>
              </a:ext>
            </a:extLst>
          </p:cNvPr>
          <p:cNvSpPr>
            <a:spLocks noGrp="1"/>
          </p:cNvSpPr>
          <p:nvPr>
            <p:ph type="body" sz="quarter" idx="11"/>
          </p:nvPr>
        </p:nvSpPr>
        <p:spPr/>
        <p:txBody>
          <a:bodyPr/>
          <a:lstStyle/>
          <a:p>
            <a:r>
              <a:rPr lang="en-GB" dirty="0"/>
              <a:t>Getting people to take commercial actions and go online</a:t>
            </a:r>
          </a:p>
        </p:txBody>
      </p:sp>
      <p:sp>
        <p:nvSpPr>
          <p:cNvPr id="4" name="Slide Number Placeholder 3">
            <a:extLst>
              <a:ext uri="{FF2B5EF4-FFF2-40B4-BE49-F238E27FC236}">
                <a16:creationId xmlns:a16="http://schemas.microsoft.com/office/drawing/2014/main" id="{E2A9000D-F26F-429B-8D2F-EC84028847EE}"/>
              </a:ext>
            </a:extLst>
          </p:cNvPr>
          <p:cNvSpPr>
            <a:spLocks noGrp="1"/>
          </p:cNvSpPr>
          <p:nvPr>
            <p:ph type="sldNum" sz="quarter" idx="15"/>
          </p:nvPr>
        </p:nvSpPr>
        <p:spPr/>
        <p:txBody>
          <a:bodyPr/>
          <a:lstStyle/>
          <a:p>
            <a:fld id="{3787542D-5C6B-4EB3-96EB-9B37C3D5D2F8}" type="slidenum">
              <a:rPr lang="en-GB" smtClean="0"/>
              <a:t>2</a:t>
            </a:fld>
            <a:endParaRPr lang="en-GB" dirty="0"/>
          </a:p>
        </p:txBody>
      </p:sp>
      <p:graphicFrame>
        <p:nvGraphicFramePr>
          <p:cNvPr id="8" name="Chart 7">
            <a:extLst>
              <a:ext uri="{FF2B5EF4-FFF2-40B4-BE49-F238E27FC236}">
                <a16:creationId xmlns:a16="http://schemas.microsoft.com/office/drawing/2014/main" id="{6D5CEF46-3D44-4BC9-B220-9121DDF677AB}"/>
              </a:ext>
            </a:extLst>
          </p:cNvPr>
          <p:cNvGraphicFramePr/>
          <p:nvPr/>
        </p:nvGraphicFramePr>
        <p:xfrm>
          <a:off x="1437253" y="2298794"/>
          <a:ext cx="3737317" cy="2158873"/>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a:extLst>
              <a:ext uri="{FF2B5EF4-FFF2-40B4-BE49-F238E27FC236}">
                <a16:creationId xmlns:a16="http://schemas.microsoft.com/office/drawing/2014/main" id="{9FCAD974-3368-4134-9541-C6C2FF38C4FD}"/>
              </a:ext>
            </a:extLst>
          </p:cNvPr>
          <p:cNvSpPr txBox="1"/>
          <p:nvPr/>
        </p:nvSpPr>
        <p:spPr>
          <a:xfrm>
            <a:off x="2701250" y="3111937"/>
            <a:ext cx="1051891" cy="707886"/>
          </a:xfrm>
          <a:prstGeom prst="rect">
            <a:avLst/>
          </a:prstGeom>
          <a:noFill/>
        </p:spPr>
        <p:txBody>
          <a:bodyPr wrap="none" rtlCol="0">
            <a:spAutoFit/>
          </a:bodyPr>
          <a:lstStyle/>
          <a:p>
            <a:r>
              <a:rPr lang="en-GB" sz="4000" b="1" dirty="0">
                <a:latin typeface="+mj-lt"/>
              </a:rPr>
              <a:t>97</a:t>
            </a:r>
            <a:r>
              <a:rPr lang="en-GB" sz="4000" b="1" baseline="30000" dirty="0">
                <a:latin typeface="+mj-lt"/>
              </a:rPr>
              <a:t>%</a:t>
            </a:r>
          </a:p>
        </p:txBody>
      </p:sp>
      <p:sp>
        <p:nvSpPr>
          <p:cNvPr id="16" name="TextBox 15">
            <a:extLst>
              <a:ext uri="{FF2B5EF4-FFF2-40B4-BE49-F238E27FC236}">
                <a16:creationId xmlns:a16="http://schemas.microsoft.com/office/drawing/2014/main" id="{45A4FBE2-F05B-4B4A-A570-CBB3B81C2E7E}"/>
              </a:ext>
            </a:extLst>
          </p:cNvPr>
          <p:cNvSpPr txBox="1"/>
          <p:nvPr/>
        </p:nvSpPr>
        <p:spPr>
          <a:xfrm>
            <a:off x="2358793" y="4467658"/>
            <a:ext cx="1705660" cy="400110"/>
          </a:xfrm>
          <a:prstGeom prst="rect">
            <a:avLst/>
          </a:prstGeom>
          <a:noFill/>
        </p:spPr>
        <p:txBody>
          <a:bodyPr wrap="none" rtlCol="0">
            <a:spAutoFit/>
          </a:bodyPr>
          <a:lstStyle/>
          <a:p>
            <a:r>
              <a:rPr lang="en-GB" sz="2000" cap="all" dirty="0"/>
              <a:t>engagement</a:t>
            </a:r>
          </a:p>
        </p:txBody>
      </p:sp>
      <p:sp>
        <p:nvSpPr>
          <p:cNvPr id="23" name="TextBox 22">
            <a:extLst>
              <a:ext uri="{FF2B5EF4-FFF2-40B4-BE49-F238E27FC236}">
                <a16:creationId xmlns:a16="http://schemas.microsoft.com/office/drawing/2014/main" id="{904F31F3-F33B-44B2-B97B-B579D98C1607}"/>
              </a:ext>
            </a:extLst>
          </p:cNvPr>
          <p:cNvSpPr txBox="1"/>
          <p:nvPr/>
        </p:nvSpPr>
        <p:spPr>
          <a:xfrm>
            <a:off x="7429065" y="6329853"/>
            <a:ext cx="4102405" cy="261610"/>
          </a:xfrm>
          <a:prstGeom prst="rect">
            <a:avLst/>
          </a:prstGeom>
          <a:noFill/>
        </p:spPr>
        <p:txBody>
          <a:bodyPr wrap="none" rtlCol="0">
            <a:spAutoFit/>
          </a:bodyPr>
          <a:lstStyle/>
          <a:p>
            <a:r>
              <a:rPr lang="en-GB" sz="1100" dirty="0"/>
              <a:t>Source:  JICMAIL, Addressed Mail, Business Mail, Q2 2017 – Q4 2020</a:t>
            </a:r>
          </a:p>
        </p:txBody>
      </p:sp>
      <p:graphicFrame>
        <p:nvGraphicFramePr>
          <p:cNvPr id="24" name="Chart 23">
            <a:extLst>
              <a:ext uri="{FF2B5EF4-FFF2-40B4-BE49-F238E27FC236}">
                <a16:creationId xmlns:a16="http://schemas.microsoft.com/office/drawing/2014/main" id="{6177E57A-414A-47B0-B79B-E9EE0958C86C}"/>
              </a:ext>
            </a:extLst>
          </p:cNvPr>
          <p:cNvGraphicFramePr/>
          <p:nvPr/>
        </p:nvGraphicFramePr>
        <p:xfrm>
          <a:off x="4187884" y="2298794"/>
          <a:ext cx="3737317" cy="2158873"/>
        </p:xfrm>
        <a:graphic>
          <a:graphicData uri="http://schemas.openxmlformats.org/drawingml/2006/chart">
            <c:chart xmlns:c="http://schemas.openxmlformats.org/drawingml/2006/chart" xmlns:r="http://schemas.openxmlformats.org/officeDocument/2006/relationships" r:id="rId3"/>
          </a:graphicData>
        </a:graphic>
      </p:graphicFrame>
      <p:sp>
        <p:nvSpPr>
          <p:cNvPr id="25" name="TextBox 24">
            <a:extLst>
              <a:ext uri="{FF2B5EF4-FFF2-40B4-BE49-F238E27FC236}">
                <a16:creationId xmlns:a16="http://schemas.microsoft.com/office/drawing/2014/main" id="{5701E8DB-5EAB-49A8-8160-C65A0154CEED}"/>
              </a:ext>
            </a:extLst>
          </p:cNvPr>
          <p:cNvSpPr txBox="1"/>
          <p:nvPr/>
        </p:nvSpPr>
        <p:spPr>
          <a:xfrm>
            <a:off x="5131726" y="4467658"/>
            <a:ext cx="1646926" cy="707886"/>
          </a:xfrm>
          <a:prstGeom prst="rect">
            <a:avLst/>
          </a:prstGeom>
          <a:noFill/>
        </p:spPr>
        <p:txBody>
          <a:bodyPr wrap="none" rtlCol="0">
            <a:spAutoFit/>
          </a:bodyPr>
          <a:lstStyle/>
          <a:p>
            <a:pPr algn="ctr"/>
            <a:r>
              <a:rPr lang="en-GB" sz="2000" cap="all" dirty="0"/>
              <a:t>Commercial</a:t>
            </a:r>
          </a:p>
          <a:p>
            <a:pPr algn="ctr"/>
            <a:r>
              <a:rPr lang="en-GB" sz="2000" cap="all" dirty="0"/>
              <a:t>action</a:t>
            </a:r>
          </a:p>
        </p:txBody>
      </p:sp>
      <p:sp>
        <p:nvSpPr>
          <p:cNvPr id="26" name="TextBox 25">
            <a:extLst>
              <a:ext uri="{FF2B5EF4-FFF2-40B4-BE49-F238E27FC236}">
                <a16:creationId xmlns:a16="http://schemas.microsoft.com/office/drawing/2014/main" id="{D180AC85-4DE8-4E5C-AD4A-EAD16F54828E}"/>
              </a:ext>
            </a:extLst>
          </p:cNvPr>
          <p:cNvSpPr txBox="1"/>
          <p:nvPr/>
        </p:nvSpPr>
        <p:spPr>
          <a:xfrm>
            <a:off x="5497994" y="3111937"/>
            <a:ext cx="1051891" cy="707886"/>
          </a:xfrm>
          <a:prstGeom prst="rect">
            <a:avLst/>
          </a:prstGeom>
          <a:noFill/>
        </p:spPr>
        <p:txBody>
          <a:bodyPr wrap="none" rtlCol="0">
            <a:spAutoFit/>
          </a:bodyPr>
          <a:lstStyle/>
          <a:p>
            <a:r>
              <a:rPr lang="en-GB" sz="4000" b="1" dirty="0">
                <a:latin typeface="+mj-lt"/>
              </a:rPr>
              <a:t>33</a:t>
            </a:r>
            <a:r>
              <a:rPr lang="en-GB" sz="4000" b="1" baseline="30000" dirty="0">
                <a:latin typeface="+mj-lt"/>
              </a:rPr>
              <a:t>%</a:t>
            </a:r>
          </a:p>
        </p:txBody>
      </p:sp>
      <p:graphicFrame>
        <p:nvGraphicFramePr>
          <p:cNvPr id="27" name="Chart 26">
            <a:extLst>
              <a:ext uri="{FF2B5EF4-FFF2-40B4-BE49-F238E27FC236}">
                <a16:creationId xmlns:a16="http://schemas.microsoft.com/office/drawing/2014/main" id="{9302EAA8-CCC9-4C38-92CD-6CB39F505D93}"/>
              </a:ext>
            </a:extLst>
          </p:cNvPr>
          <p:cNvGraphicFramePr/>
          <p:nvPr/>
        </p:nvGraphicFramePr>
        <p:xfrm>
          <a:off x="6983121" y="2328532"/>
          <a:ext cx="3737317" cy="2158873"/>
        </p:xfrm>
        <a:graphic>
          <a:graphicData uri="http://schemas.openxmlformats.org/drawingml/2006/chart">
            <c:chart xmlns:c="http://schemas.openxmlformats.org/drawingml/2006/chart" xmlns:r="http://schemas.openxmlformats.org/officeDocument/2006/relationships" r:id="rId4"/>
          </a:graphicData>
        </a:graphic>
      </p:graphicFrame>
      <p:sp>
        <p:nvSpPr>
          <p:cNvPr id="28" name="TextBox 27">
            <a:extLst>
              <a:ext uri="{FF2B5EF4-FFF2-40B4-BE49-F238E27FC236}">
                <a16:creationId xmlns:a16="http://schemas.microsoft.com/office/drawing/2014/main" id="{5726B874-7126-44FF-BC71-3F3F7A5B0EB3}"/>
              </a:ext>
            </a:extLst>
          </p:cNvPr>
          <p:cNvSpPr txBox="1"/>
          <p:nvPr/>
        </p:nvSpPr>
        <p:spPr>
          <a:xfrm>
            <a:off x="7999185" y="4497396"/>
            <a:ext cx="1547091" cy="707886"/>
          </a:xfrm>
          <a:prstGeom prst="rect">
            <a:avLst/>
          </a:prstGeom>
          <a:noFill/>
        </p:spPr>
        <p:txBody>
          <a:bodyPr wrap="none" rtlCol="0">
            <a:spAutoFit/>
          </a:bodyPr>
          <a:lstStyle/>
          <a:p>
            <a:pPr algn="ctr"/>
            <a:r>
              <a:rPr lang="en-GB" sz="2000" cap="all" dirty="0"/>
              <a:t>Online</a:t>
            </a:r>
          </a:p>
          <a:p>
            <a:pPr algn="ctr"/>
            <a:r>
              <a:rPr lang="en-GB" sz="2000" cap="all" dirty="0"/>
              <a:t>behaviours</a:t>
            </a:r>
          </a:p>
        </p:txBody>
      </p:sp>
      <p:sp>
        <p:nvSpPr>
          <p:cNvPr id="29" name="TextBox 28">
            <a:extLst>
              <a:ext uri="{FF2B5EF4-FFF2-40B4-BE49-F238E27FC236}">
                <a16:creationId xmlns:a16="http://schemas.microsoft.com/office/drawing/2014/main" id="{810CE003-5F35-4FDF-A8E2-B3DA614B94BC}"/>
              </a:ext>
            </a:extLst>
          </p:cNvPr>
          <p:cNvSpPr txBox="1"/>
          <p:nvPr/>
        </p:nvSpPr>
        <p:spPr>
          <a:xfrm>
            <a:off x="8293231" y="3141675"/>
            <a:ext cx="1051891" cy="707886"/>
          </a:xfrm>
          <a:prstGeom prst="rect">
            <a:avLst/>
          </a:prstGeom>
          <a:noFill/>
        </p:spPr>
        <p:txBody>
          <a:bodyPr wrap="none" rtlCol="0">
            <a:spAutoFit/>
          </a:bodyPr>
          <a:lstStyle/>
          <a:p>
            <a:r>
              <a:rPr lang="en-GB" sz="4000" b="1" dirty="0">
                <a:latin typeface="+mj-lt"/>
              </a:rPr>
              <a:t>14</a:t>
            </a:r>
            <a:r>
              <a:rPr lang="en-GB" sz="4000" b="1" baseline="30000" dirty="0">
                <a:latin typeface="+mj-lt"/>
              </a:rPr>
              <a:t>%</a:t>
            </a:r>
          </a:p>
        </p:txBody>
      </p:sp>
    </p:spTree>
    <p:extLst>
      <p:ext uri="{BB962C8B-B14F-4D97-AF65-F5344CB8AC3E}">
        <p14:creationId xmlns:p14="http://schemas.microsoft.com/office/powerpoint/2010/main" val="2103111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A8C25D-AB05-44B2-97EC-0A1513F6C92E}"/>
              </a:ext>
            </a:extLst>
          </p:cNvPr>
          <p:cNvSpPr>
            <a:spLocks noGrp="1"/>
          </p:cNvSpPr>
          <p:nvPr>
            <p:ph type="title"/>
          </p:nvPr>
        </p:nvSpPr>
        <p:spPr/>
        <p:txBody>
          <a:bodyPr/>
          <a:lstStyle/>
          <a:p>
            <a:r>
              <a:rPr lang="en-GB" dirty="0"/>
              <a:t>Using new technology to drive frictionless offline to online</a:t>
            </a:r>
          </a:p>
        </p:txBody>
      </p:sp>
      <p:sp>
        <p:nvSpPr>
          <p:cNvPr id="4" name="Slide Number Placeholder 3">
            <a:extLst>
              <a:ext uri="{FF2B5EF4-FFF2-40B4-BE49-F238E27FC236}">
                <a16:creationId xmlns:a16="http://schemas.microsoft.com/office/drawing/2014/main" id="{17D345DB-794B-434E-9D92-F1F67DF1710F}"/>
              </a:ext>
            </a:extLst>
          </p:cNvPr>
          <p:cNvSpPr>
            <a:spLocks noGrp="1"/>
          </p:cNvSpPr>
          <p:nvPr>
            <p:ph type="sldNum" sz="quarter" idx="15"/>
          </p:nvPr>
        </p:nvSpPr>
        <p:spPr/>
        <p:txBody>
          <a:bodyPr/>
          <a:lstStyle/>
          <a:p>
            <a:fld id="{3787542D-5C6B-4EB3-96EB-9B37C3D5D2F8}" type="slidenum">
              <a:rPr lang="en-GB" smtClean="0"/>
              <a:t>3</a:t>
            </a:fld>
            <a:endParaRPr lang="en-GB" dirty="0"/>
          </a:p>
        </p:txBody>
      </p:sp>
      <p:grpSp>
        <p:nvGrpSpPr>
          <p:cNvPr id="8" name="Agile_development" descr="{&quot;Key&quot;:&quot;POWER_USER_SHAPE_ICON&quot;,&quot;Value&quot;:&quot;POWER_USER_SHAPE_ICON_STYLE_1&quot;}">
            <a:extLst>
              <a:ext uri="{FF2B5EF4-FFF2-40B4-BE49-F238E27FC236}">
                <a16:creationId xmlns:a16="http://schemas.microsoft.com/office/drawing/2014/main" id="{2F9189BE-C556-4025-BA26-A6763297BD60}"/>
              </a:ext>
            </a:extLst>
          </p:cNvPr>
          <p:cNvGrpSpPr>
            <a:grpSpLocks noChangeAspect="1"/>
          </p:cNvGrpSpPr>
          <p:nvPr>
            <p:custDataLst>
              <p:tags r:id="rId1"/>
            </p:custDataLst>
          </p:nvPr>
        </p:nvGrpSpPr>
        <p:grpSpPr>
          <a:xfrm>
            <a:off x="5269741" y="2702483"/>
            <a:ext cx="1696936" cy="1280191"/>
            <a:chOff x="7643813" y="5260975"/>
            <a:chExt cx="1079500" cy="814388"/>
          </a:xfrm>
          <a:solidFill>
            <a:schemeClr val="tx1"/>
          </a:solidFill>
        </p:grpSpPr>
        <p:sp>
          <p:nvSpPr>
            <p:cNvPr id="9" name="Freeform 190">
              <a:extLst>
                <a:ext uri="{FF2B5EF4-FFF2-40B4-BE49-F238E27FC236}">
                  <a16:creationId xmlns:a16="http://schemas.microsoft.com/office/drawing/2014/main" id="{A45E3666-0B65-49A9-9A82-7A7CA296C74D}"/>
                </a:ext>
              </a:extLst>
            </p:cNvPr>
            <p:cNvSpPr>
              <a:spLocks/>
            </p:cNvSpPr>
            <p:nvPr/>
          </p:nvSpPr>
          <p:spPr bwMode="auto">
            <a:xfrm>
              <a:off x="8266113" y="5849938"/>
              <a:ext cx="457200" cy="225425"/>
            </a:xfrm>
            <a:custGeom>
              <a:avLst/>
              <a:gdLst>
                <a:gd name="T0" fmla="*/ 437 w 759"/>
                <a:gd name="T1" fmla="*/ 0 h 373"/>
                <a:gd name="T2" fmla="*/ 437 w 759"/>
                <a:gd name="T3" fmla="*/ 168 h 373"/>
                <a:gd name="T4" fmla="*/ 431 w 759"/>
                <a:gd name="T5" fmla="*/ 157 h 373"/>
                <a:gd name="T6" fmla="*/ 403 w 759"/>
                <a:gd name="T7" fmla="*/ 94 h 373"/>
                <a:gd name="T8" fmla="*/ 252 w 759"/>
                <a:gd name="T9" fmla="*/ 94 h 373"/>
                <a:gd name="T10" fmla="*/ 0 w 759"/>
                <a:gd name="T11" fmla="*/ 294 h 373"/>
                <a:gd name="T12" fmla="*/ 434 w 759"/>
                <a:gd name="T13" fmla="*/ 294 h 373"/>
                <a:gd name="T14" fmla="*/ 436 w 759"/>
                <a:gd name="T15" fmla="*/ 373 h 373"/>
                <a:gd name="T16" fmla="*/ 759 w 759"/>
                <a:gd name="T17" fmla="*/ 177 h 373"/>
                <a:gd name="T18" fmla="*/ 437 w 759"/>
                <a:gd name="T19"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9" h="373">
                  <a:moveTo>
                    <a:pt x="437" y="0"/>
                  </a:moveTo>
                  <a:lnTo>
                    <a:pt x="437" y="168"/>
                  </a:lnTo>
                  <a:lnTo>
                    <a:pt x="431" y="157"/>
                  </a:lnTo>
                  <a:lnTo>
                    <a:pt x="403" y="94"/>
                  </a:lnTo>
                  <a:lnTo>
                    <a:pt x="252" y="94"/>
                  </a:lnTo>
                  <a:cubicBezTo>
                    <a:pt x="185" y="179"/>
                    <a:pt x="99" y="248"/>
                    <a:pt x="0" y="294"/>
                  </a:cubicBezTo>
                  <a:lnTo>
                    <a:pt x="434" y="294"/>
                  </a:lnTo>
                  <a:lnTo>
                    <a:pt x="436" y="373"/>
                  </a:lnTo>
                  <a:lnTo>
                    <a:pt x="759" y="177"/>
                  </a:lnTo>
                  <a:lnTo>
                    <a:pt x="4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191">
              <a:extLst>
                <a:ext uri="{FF2B5EF4-FFF2-40B4-BE49-F238E27FC236}">
                  <a16:creationId xmlns:a16="http://schemas.microsoft.com/office/drawing/2014/main" id="{C34D9A71-5F57-44D2-91EC-6F25959C7B3D}"/>
                </a:ext>
              </a:extLst>
            </p:cNvPr>
            <p:cNvSpPr>
              <a:spLocks/>
            </p:cNvSpPr>
            <p:nvPr/>
          </p:nvSpPr>
          <p:spPr bwMode="auto">
            <a:xfrm>
              <a:off x="7794625" y="5810250"/>
              <a:ext cx="139700" cy="57150"/>
            </a:xfrm>
            <a:custGeom>
              <a:avLst/>
              <a:gdLst>
                <a:gd name="T0" fmla="*/ 115 w 232"/>
                <a:gd name="T1" fmla="*/ 0 h 94"/>
                <a:gd name="T2" fmla="*/ 0 w 232"/>
                <a:gd name="T3" fmla="*/ 94 h 94"/>
                <a:gd name="T4" fmla="*/ 232 w 232"/>
                <a:gd name="T5" fmla="*/ 94 h 94"/>
                <a:gd name="T6" fmla="*/ 115 w 232"/>
                <a:gd name="T7" fmla="*/ 0 h 94"/>
              </a:gdLst>
              <a:ahLst/>
              <a:cxnLst>
                <a:cxn ang="0">
                  <a:pos x="T0" y="T1"/>
                </a:cxn>
                <a:cxn ang="0">
                  <a:pos x="T2" y="T3"/>
                </a:cxn>
                <a:cxn ang="0">
                  <a:pos x="T4" y="T5"/>
                </a:cxn>
                <a:cxn ang="0">
                  <a:pos x="T6" y="T7"/>
                </a:cxn>
              </a:cxnLst>
              <a:rect l="0" t="0" r="r" b="b"/>
              <a:pathLst>
                <a:path w="232" h="94">
                  <a:moveTo>
                    <a:pt x="115" y="0"/>
                  </a:moveTo>
                  <a:lnTo>
                    <a:pt x="0" y="94"/>
                  </a:lnTo>
                  <a:lnTo>
                    <a:pt x="232" y="94"/>
                  </a:lnTo>
                  <a:cubicBezTo>
                    <a:pt x="185" y="68"/>
                    <a:pt x="144" y="37"/>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192">
              <a:extLst>
                <a:ext uri="{FF2B5EF4-FFF2-40B4-BE49-F238E27FC236}">
                  <a16:creationId xmlns:a16="http://schemas.microsoft.com/office/drawing/2014/main" id="{54422D9E-B314-4689-A4DC-DB5A27287EE3}"/>
                </a:ext>
              </a:extLst>
            </p:cNvPr>
            <p:cNvSpPr>
              <a:spLocks/>
            </p:cNvSpPr>
            <p:nvPr/>
          </p:nvSpPr>
          <p:spPr bwMode="auto">
            <a:xfrm>
              <a:off x="7643813" y="5530850"/>
              <a:ext cx="862013" cy="496888"/>
            </a:xfrm>
            <a:custGeom>
              <a:avLst/>
              <a:gdLst>
                <a:gd name="T0" fmla="*/ 1197 w 1430"/>
                <a:gd name="T1" fmla="*/ 624 h 824"/>
                <a:gd name="T2" fmla="*/ 1349 w 1430"/>
                <a:gd name="T3" fmla="*/ 347 h 824"/>
                <a:gd name="T4" fmla="*/ 1415 w 1430"/>
                <a:gd name="T5" fmla="*/ 358 h 824"/>
                <a:gd name="T6" fmla="*/ 1430 w 1430"/>
                <a:gd name="T7" fmla="*/ 361 h 824"/>
                <a:gd name="T8" fmla="*/ 1420 w 1430"/>
                <a:gd name="T9" fmla="*/ 333 h 824"/>
                <a:gd name="T10" fmla="*/ 1406 w 1430"/>
                <a:gd name="T11" fmla="*/ 296 h 824"/>
                <a:gd name="T12" fmla="*/ 1297 w 1430"/>
                <a:gd name="T13" fmla="*/ 0 h 824"/>
                <a:gd name="T14" fmla="*/ 1065 w 1430"/>
                <a:gd name="T15" fmla="*/ 280 h 824"/>
                <a:gd name="T16" fmla="*/ 1089 w 1430"/>
                <a:gd name="T17" fmla="*/ 286 h 824"/>
                <a:gd name="T18" fmla="*/ 1154 w 1430"/>
                <a:gd name="T19" fmla="*/ 300 h 824"/>
                <a:gd name="T20" fmla="*/ 1241 w 1430"/>
                <a:gd name="T21" fmla="*/ 318 h 824"/>
                <a:gd name="T22" fmla="*/ 1215 w 1430"/>
                <a:gd name="T23" fmla="*/ 324 h 824"/>
                <a:gd name="T24" fmla="*/ 1141 w 1430"/>
                <a:gd name="T25" fmla="*/ 340 h 824"/>
                <a:gd name="T26" fmla="*/ 734 w 1430"/>
                <a:gd name="T27" fmla="*/ 624 h 824"/>
                <a:gd name="T28" fmla="*/ 732 w 1430"/>
                <a:gd name="T29" fmla="*/ 624 h 824"/>
                <a:gd name="T30" fmla="*/ 240 w 1430"/>
                <a:gd name="T31" fmla="*/ 624 h 824"/>
                <a:gd name="T32" fmla="*/ 0 w 1430"/>
                <a:gd name="T33" fmla="*/ 624 h 824"/>
                <a:gd name="T34" fmla="*/ 0 w 1430"/>
                <a:gd name="T35" fmla="*/ 824 h 824"/>
                <a:gd name="T36" fmla="*/ 732 w 1430"/>
                <a:gd name="T37" fmla="*/ 824 h 824"/>
                <a:gd name="T38" fmla="*/ 734 w 1430"/>
                <a:gd name="T39" fmla="*/ 824 h 824"/>
                <a:gd name="T40" fmla="*/ 1197 w 1430"/>
                <a:gd name="T41" fmla="*/ 624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30" h="824">
                  <a:moveTo>
                    <a:pt x="1197" y="624"/>
                  </a:moveTo>
                  <a:cubicBezTo>
                    <a:pt x="1268" y="548"/>
                    <a:pt x="1321" y="453"/>
                    <a:pt x="1349" y="347"/>
                  </a:cubicBezTo>
                  <a:lnTo>
                    <a:pt x="1415" y="358"/>
                  </a:lnTo>
                  <a:lnTo>
                    <a:pt x="1430" y="361"/>
                  </a:lnTo>
                  <a:lnTo>
                    <a:pt x="1420" y="333"/>
                  </a:lnTo>
                  <a:lnTo>
                    <a:pt x="1406" y="296"/>
                  </a:lnTo>
                  <a:lnTo>
                    <a:pt x="1297" y="0"/>
                  </a:lnTo>
                  <a:lnTo>
                    <a:pt x="1065" y="280"/>
                  </a:lnTo>
                  <a:lnTo>
                    <a:pt x="1089" y="286"/>
                  </a:lnTo>
                  <a:lnTo>
                    <a:pt x="1154" y="300"/>
                  </a:lnTo>
                  <a:lnTo>
                    <a:pt x="1241" y="318"/>
                  </a:lnTo>
                  <a:lnTo>
                    <a:pt x="1215" y="324"/>
                  </a:lnTo>
                  <a:lnTo>
                    <a:pt x="1141" y="340"/>
                  </a:lnTo>
                  <a:cubicBezTo>
                    <a:pt x="1079" y="508"/>
                    <a:pt x="920" y="623"/>
                    <a:pt x="734" y="624"/>
                  </a:cubicBezTo>
                  <a:cubicBezTo>
                    <a:pt x="733" y="624"/>
                    <a:pt x="733" y="624"/>
                    <a:pt x="732" y="624"/>
                  </a:cubicBezTo>
                  <a:lnTo>
                    <a:pt x="240" y="624"/>
                  </a:lnTo>
                  <a:lnTo>
                    <a:pt x="0" y="624"/>
                  </a:lnTo>
                  <a:lnTo>
                    <a:pt x="0" y="824"/>
                  </a:lnTo>
                  <a:lnTo>
                    <a:pt x="732" y="824"/>
                  </a:lnTo>
                  <a:cubicBezTo>
                    <a:pt x="733" y="824"/>
                    <a:pt x="734" y="824"/>
                    <a:pt x="734" y="824"/>
                  </a:cubicBezTo>
                  <a:cubicBezTo>
                    <a:pt x="916" y="823"/>
                    <a:pt x="1081" y="747"/>
                    <a:pt x="1197" y="6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193">
              <a:extLst>
                <a:ext uri="{FF2B5EF4-FFF2-40B4-BE49-F238E27FC236}">
                  <a16:creationId xmlns:a16="http://schemas.microsoft.com/office/drawing/2014/main" id="{037D9BD1-C88F-4E0C-8B25-BC53D21743E2}"/>
                </a:ext>
              </a:extLst>
            </p:cNvPr>
            <p:cNvSpPr>
              <a:spLocks/>
            </p:cNvSpPr>
            <p:nvPr/>
          </p:nvSpPr>
          <p:spPr bwMode="auto">
            <a:xfrm>
              <a:off x="7651750" y="5260975"/>
              <a:ext cx="814388" cy="560388"/>
            </a:xfrm>
            <a:custGeom>
              <a:avLst/>
              <a:gdLst>
                <a:gd name="T0" fmla="*/ 375 w 1353"/>
                <a:gd name="T1" fmla="*/ 569 h 930"/>
                <a:gd name="T2" fmla="*/ 287 w 1353"/>
                <a:gd name="T3" fmla="*/ 584 h 930"/>
                <a:gd name="T4" fmla="*/ 720 w 1353"/>
                <a:gd name="T5" fmla="*/ 200 h 930"/>
                <a:gd name="T6" fmla="*/ 1170 w 1353"/>
                <a:gd name="T7" fmla="*/ 440 h 930"/>
                <a:gd name="T8" fmla="*/ 1353 w 1353"/>
                <a:gd name="T9" fmla="*/ 358 h 930"/>
                <a:gd name="T10" fmla="*/ 720 w 1353"/>
                <a:gd name="T11" fmla="*/ 0 h 930"/>
                <a:gd name="T12" fmla="*/ 86 w 1353"/>
                <a:gd name="T13" fmla="*/ 585 h 930"/>
                <a:gd name="T14" fmla="*/ 170 w 1353"/>
                <a:gd name="T15" fmla="*/ 604 h 930"/>
                <a:gd name="T16" fmla="*/ 163 w 1353"/>
                <a:gd name="T17" fmla="*/ 606 h 930"/>
                <a:gd name="T18" fmla="*/ 84 w 1353"/>
                <a:gd name="T19" fmla="*/ 622 h 930"/>
                <a:gd name="T20" fmla="*/ 0 w 1353"/>
                <a:gd name="T21" fmla="*/ 640 h 930"/>
                <a:gd name="T22" fmla="*/ 242 w 1353"/>
                <a:gd name="T23" fmla="*/ 930 h 930"/>
                <a:gd name="T24" fmla="*/ 375 w 1353"/>
                <a:gd name="T25" fmla="*/ 569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53" h="930">
                  <a:moveTo>
                    <a:pt x="375" y="569"/>
                  </a:moveTo>
                  <a:lnTo>
                    <a:pt x="287" y="584"/>
                  </a:lnTo>
                  <a:cubicBezTo>
                    <a:pt x="312" y="368"/>
                    <a:pt x="497" y="200"/>
                    <a:pt x="720" y="200"/>
                  </a:cubicBezTo>
                  <a:cubicBezTo>
                    <a:pt x="915" y="200"/>
                    <a:pt x="1109" y="303"/>
                    <a:pt x="1170" y="440"/>
                  </a:cubicBezTo>
                  <a:lnTo>
                    <a:pt x="1353" y="358"/>
                  </a:lnTo>
                  <a:cubicBezTo>
                    <a:pt x="1258" y="147"/>
                    <a:pt x="998" y="0"/>
                    <a:pt x="720" y="0"/>
                  </a:cubicBezTo>
                  <a:cubicBezTo>
                    <a:pt x="386" y="0"/>
                    <a:pt x="112" y="258"/>
                    <a:pt x="86" y="585"/>
                  </a:cubicBezTo>
                  <a:lnTo>
                    <a:pt x="170" y="604"/>
                  </a:lnTo>
                  <a:lnTo>
                    <a:pt x="163" y="606"/>
                  </a:lnTo>
                  <a:lnTo>
                    <a:pt x="84" y="622"/>
                  </a:lnTo>
                  <a:lnTo>
                    <a:pt x="0" y="640"/>
                  </a:lnTo>
                  <a:lnTo>
                    <a:pt x="242" y="930"/>
                  </a:lnTo>
                  <a:lnTo>
                    <a:pt x="375" y="56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4" name="Smartphone" descr="{&quot;Key&quot;:&quot;POWER_USER_SHAPE_ICON&quot;,&quot;Value&quot;:&quot;POWER_USER_SHAPE_ICON_STYLE_1&quot;}">
            <a:extLst>
              <a:ext uri="{FF2B5EF4-FFF2-40B4-BE49-F238E27FC236}">
                <a16:creationId xmlns:a16="http://schemas.microsoft.com/office/drawing/2014/main" id="{8EF3B78F-511F-4AF2-9D4A-8D579B680C5C}"/>
              </a:ext>
            </a:extLst>
          </p:cNvPr>
          <p:cNvSpPr>
            <a:spLocks noChangeAspect="1" noEditPoints="1"/>
          </p:cNvSpPr>
          <p:nvPr>
            <p:custDataLst>
              <p:tags r:id="rId2"/>
            </p:custDataLst>
          </p:nvPr>
        </p:nvSpPr>
        <p:spPr bwMode="auto">
          <a:xfrm>
            <a:off x="3505412" y="2803105"/>
            <a:ext cx="348565" cy="542925"/>
          </a:xfrm>
          <a:custGeom>
            <a:avLst/>
            <a:gdLst>
              <a:gd name="T0" fmla="*/ 2984 w 3230"/>
              <a:gd name="T1" fmla="*/ 0 h 5023"/>
              <a:gd name="T2" fmla="*/ 246 w 3230"/>
              <a:gd name="T3" fmla="*/ 0 h 5023"/>
              <a:gd name="T4" fmla="*/ 0 w 3230"/>
              <a:gd name="T5" fmla="*/ 245 h 5023"/>
              <a:gd name="T6" fmla="*/ 0 w 3230"/>
              <a:gd name="T7" fmla="*/ 4777 h 5023"/>
              <a:gd name="T8" fmla="*/ 246 w 3230"/>
              <a:gd name="T9" fmla="*/ 5023 h 5023"/>
              <a:gd name="T10" fmla="*/ 2984 w 3230"/>
              <a:gd name="T11" fmla="*/ 5023 h 5023"/>
              <a:gd name="T12" fmla="*/ 3230 w 3230"/>
              <a:gd name="T13" fmla="*/ 4777 h 5023"/>
              <a:gd name="T14" fmla="*/ 3230 w 3230"/>
              <a:gd name="T15" fmla="*/ 245 h 5023"/>
              <a:gd name="T16" fmla="*/ 2984 w 3230"/>
              <a:gd name="T17" fmla="*/ 0 h 5023"/>
              <a:gd name="T18" fmla="*/ 1615 w 3230"/>
              <a:gd name="T19" fmla="*/ 4837 h 5023"/>
              <a:gd name="T20" fmla="*/ 1271 w 3230"/>
              <a:gd name="T21" fmla="*/ 4493 h 5023"/>
              <a:gd name="T22" fmla="*/ 1615 w 3230"/>
              <a:gd name="T23" fmla="*/ 4149 h 5023"/>
              <a:gd name="T24" fmla="*/ 1959 w 3230"/>
              <a:gd name="T25" fmla="*/ 4493 h 5023"/>
              <a:gd name="T26" fmla="*/ 1615 w 3230"/>
              <a:gd name="T27" fmla="*/ 4837 h 5023"/>
              <a:gd name="T28" fmla="*/ 2820 w 3230"/>
              <a:gd name="T29" fmla="*/ 3934 h 5023"/>
              <a:gd name="T30" fmla="*/ 409 w 3230"/>
              <a:gd name="T31" fmla="*/ 3934 h 5023"/>
              <a:gd name="T32" fmla="*/ 409 w 3230"/>
              <a:gd name="T33" fmla="*/ 409 h 5023"/>
              <a:gd name="T34" fmla="*/ 2820 w 3230"/>
              <a:gd name="T35" fmla="*/ 409 h 5023"/>
              <a:gd name="T36" fmla="*/ 2820 w 3230"/>
              <a:gd name="T37" fmla="*/ 3934 h 5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30" h="5023">
                <a:moveTo>
                  <a:pt x="2984" y="0"/>
                </a:moveTo>
                <a:lnTo>
                  <a:pt x="246" y="0"/>
                </a:lnTo>
                <a:cubicBezTo>
                  <a:pt x="110" y="0"/>
                  <a:pt x="0" y="110"/>
                  <a:pt x="0" y="245"/>
                </a:cubicBezTo>
                <a:lnTo>
                  <a:pt x="0" y="4777"/>
                </a:lnTo>
                <a:cubicBezTo>
                  <a:pt x="0" y="4913"/>
                  <a:pt x="110" y="5023"/>
                  <a:pt x="246" y="5023"/>
                </a:cubicBezTo>
                <a:lnTo>
                  <a:pt x="2984" y="5023"/>
                </a:lnTo>
                <a:cubicBezTo>
                  <a:pt x="3120" y="5023"/>
                  <a:pt x="3230" y="4913"/>
                  <a:pt x="3230" y="4777"/>
                </a:cubicBezTo>
                <a:lnTo>
                  <a:pt x="3230" y="245"/>
                </a:lnTo>
                <a:cubicBezTo>
                  <a:pt x="3230" y="110"/>
                  <a:pt x="3120" y="0"/>
                  <a:pt x="2984" y="0"/>
                </a:cubicBezTo>
                <a:close/>
                <a:moveTo>
                  <a:pt x="1615" y="4837"/>
                </a:moveTo>
                <a:cubicBezTo>
                  <a:pt x="1425" y="4837"/>
                  <a:pt x="1271" y="4683"/>
                  <a:pt x="1271" y="4493"/>
                </a:cubicBezTo>
                <a:cubicBezTo>
                  <a:pt x="1271" y="4303"/>
                  <a:pt x="1425" y="4149"/>
                  <a:pt x="1615" y="4149"/>
                </a:cubicBezTo>
                <a:cubicBezTo>
                  <a:pt x="1805" y="4149"/>
                  <a:pt x="1959" y="4303"/>
                  <a:pt x="1959" y="4493"/>
                </a:cubicBezTo>
                <a:cubicBezTo>
                  <a:pt x="1959" y="4683"/>
                  <a:pt x="1805" y="4837"/>
                  <a:pt x="1615" y="4837"/>
                </a:cubicBezTo>
                <a:close/>
                <a:moveTo>
                  <a:pt x="2820" y="3934"/>
                </a:moveTo>
                <a:lnTo>
                  <a:pt x="409" y="3934"/>
                </a:lnTo>
                <a:lnTo>
                  <a:pt x="409" y="409"/>
                </a:lnTo>
                <a:lnTo>
                  <a:pt x="2820" y="409"/>
                </a:lnTo>
                <a:lnTo>
                  <a:pt x="2820" y="3934"/>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1777D4E8-1E11-4B63-9653-7FAABEA19DD5}"/>
              </a:ext>
            </a:extLst>
          </p:cNvPr>
          <p:cNvSpPr txBox="1"/>
          <p:nvPr/>
        </p:nvSpPr>
        <p:spPr>
          <a:xfrm>
            <a:off x="2362722" y="2664869"/>
            <a:ext cx="1140056" cy="769441"/>
          </a:xfrm>
          <a:prstGeom prst="rect">
            <a:avLst/>
          </a:prstGeom>
          <a:noFill/>
        </p:spPr>
        <p:txBody>
          <a:bodyPr wrap="none" rtlCol="0">
            <a:spAutoFit/>
          </a:bodyPr>
          <a:lstStyle/>
          <a:p>
            <a:r>
              <a:rPr lang="en-GB" sz="4400" b="1" dirty="0">
                <a:latin typeface="+mj-lt"/>
              </a:rPr>
              <a:t>87</a:t>
            </a:r>
            <a:r>
              <a:rPr lang="en-GB" sz="4400" b="1" baseline="30000" dirty="0">
                <a:latin typeface="+mj-lt"/>
              </a:rPr>
              <a:t>%</a:t>
            </a:r>
          </a:p>
        </p:txBody>
      </p:sp>
      <p:sp>
        <p:nvSpPr>
          <p:cNvPr id="16" name="TextBox 15">
            <a:extLst>
              <a:ext uri="{FF2B5EF4-FFF2-40B4-BE49-F238E27FC236}">
                <a16:creationId xmlns:a16="http://schemas.microsoft.com/office/drawing/2014/main" id="{A2A2771A-8661-4653-8D7A-C11CCBA626E6}"/>
              </a:ext>
            </a:extLst>
          </p:cNvPr>
          <p:cNvSpPr txBox="1"/>
          <p:nvPr/>
        </p:nvSpPr>
        <p:spPr>
          <a:xfrm>
            <a:off x="2362722" y="3393087"/>
            <a:ext cx="2617896" cy="1200329"/>
          </a:xfrm>
          <a:prstGeom prst="rect">
            <a:avLst/>
          </a:prstGeom>
          <a:noFill/>
        </p:spPr>
        <p:txBody>
          <a:bodyPr wrap="none" rtlCol="0">
            <a:spAutoFit/>
          </a:bodyPr>
          <a:lstStyle/>
          <a:p>
            <a:r>
              <a:rPr lang="en-GB" sz="2400" cap="all" dirty="0"/>
              <a:t>Of adults own a </a:t>
            </a:r>
          </a:p>
          <a:p>
            <a:r>
              <a:rPr lang="en-GB" sz="2400" cap="all" dirty="0"/>
              <a:t>smartphone</a:t>
            </a:r>
          </a:p>
          <a:p>
            <a:r>
              <a:rPr lang="en-GB" sz="2400" cap="all" dirty="0"/>
              <a:t>In 2020</a:t>
            </a:r>
          </a:p>
        </p:txBody>
      </p:sp>
      <p:grpSp>
        <p:nvGrpSpPr>
          <p:cNvPr id="17" name="Signal" descr="{&quot;Key&quot;:&quot;POWER_USER_SHAPE_ICON&quot;,&quot;Value&quot;:&quot;POWER_USER_SHAPE_ICON_STYLE_1&quot;}">
            <a:extLst>
              <a:ext uri="{FF2B5EF4-FFF2-40B4-BE49-F238E27FC236}">
                <a16:creationId xmlns:a16="http://schemas.microsoft.com/office/drawing/2014/main" id="{7BE427BA-6177-4F4A-8BB2-2C8EA1040B23}"/>
              </a:ext>
            </a:extLst>
          </p:cNvPr>
          <p:cNvGrpSpPr>
            <a:grpSpLocks noChangeAspect="1"/>
          </p:cNvGrpSpPr>
          <p:nvPr>
            <p:custDataLst>
              <p:tags r:id="rId3"/>
            </p:custDataLst>
          </p:nvPr>
        </p:nvGrpSpPr>
        <p:grpSpPr bwMode="auto">
          <a:xfrm>
            <a:off x="6115678" y="4084632"/>
            <a:ext cx="568488" cy="771520"/>
            <a:chOff x="8" y="8"/>
            <a:chExt cx="350" cy="475"/>
          </a:xfrm>
          <a:solidFill>
            <a:schemeClr val="accent1"/>
          </a:solidFill>
        </p:grpSpPr>
        <p:sp>
          <p:nvSpPr>
            <p:cNvPr id="18" name="Signal">
              <a:extLst>
                <a:ext uri="{FF2B5EF4-FFF2-40B4-BE49-F238E27FC236}">
                  <a16:creationId xmlns:a16="http://schemas.microsoft.com/office/drawing/2014/main" id="{D80334F5-18CC-4CB5-B4A5-94935B937E93}"/>
                </a:ext>
              </a:extLst>
            </p:cNvPr>
            <p:cNvSpPr>
              <a:spLocks noEditPoints="1"/>
            </p:cNvSpPr>
            <p:nvPr>
              <p:custDataLst>
                <p:tags r:id="rId5"/>
              </p:custDataLst>
            </p:nvPr>
          </p:nvSpPr>
          <p:spPr bwMode="auto">
            <a:xfrm>
              <a:off x="8" y="157"/>
              <a:ext cx="209" cy="326"/>
            </a:xfrm>
            <a:custGeom>
              <a:avLst/>
              <a:gdLst>
                <a:gd name="T0" fmla="*/ 445 w 473"/>
                <a:gd name="T1" fmla="*/ 0 h 737"/>
                <a:gd name="T2" fmla="*/ 29 w 473"/>
                <a:gd name="T3" fmla="*/ 0 h 737"/>
                <a:gd name="T4" fmla="*/ 0 w 473"/>
                <a:gd name="T5" fmla="*/ 29 h 737"/>
                <a:gd name="T6" fmla="*/ 0 w 473"/>
                <a:gd name="T7" fmla="*/ 709 h 737"/>
                <a:gd name="T8" fmla="*/ 29 w 473"/>
                <a:gd name="T9" fmla="*/ 737 h 737"/>
                <a:gd name="T10" fmla="*/ 445 w 473"/>
                <a:gd name="T11" fmla="*/ 737 h 737"/>
                <a:gd name="T12" fmla="*/ 473 w 473"/>
                <a:gd name="T13" fmla="*/ 709 h 737"/>
                <a:gd name="T14" fmla="*/ 473 w 473"/>
                <a:gd name="T15" fmla="*/ 29 h 737"/>
                <a:gd name="T16" fmla="*/ 445 w 473"/>
                <a:gd name="T17" fmla="*/ 0 h 737"/>
                <a:gd name="T18" fmla="*/ 237 w 473"/>
                <a:gd name="T19" fmla="*/ 727 h 737"/>
                <a:gd name="T20" fmla="*/ 190 w 473"/>
                <a:gd name="T21" fmla="*/ 680 h 737"/>
                <a:gd name="T22" fmla="*/ 237 w 473"/>
                <a:gd name="T23" fmla="*/ 634 h 737"/>
                <a:gd name="T24" fmla="*/ 283 w 473"/>
                <a:gd name="T25" fmla="*/ 680 h 737"/>
                <a:gd name="T26" fmla="*/ 237 w 473"/>
                <a:gd name="T27" fmla="*/ 727 h 737"/>
                <a:gd name="T28" fmla="*/ 431 w 473"/>
                <a:gd name="T29" fmla="*/ 590 h 737"/>
                <a:gd name="T30" fmla="*/ 402 w 473"/>
                <a:gd name="T31" fmla="*/ 619 h 737"/>
                <a:gd name="T32" fmla="*/ 71 w 473"/>
                <a:gd name="T33" fmla="*/ 619 h 737"/>
                <a:gd name="T34" fmla="*/ 43 w 473"/>
                <a:gd name="T35" fmla="*/ 590 h 737"/>
                <a:gd name="T36" fmla="*/ 43 w 473"/>
                <a:gd name="T37" fmla="*/ 69 h 737"/>
                <a:gd name="T38" fmla="*/ 71 w 473"/>
                <a:gd name="T39" fmla="*/ 40 h 737"/>
                <a:gd name="T40" fmla="*/ 402 w 473"/>
                <a:gd name="T41" fmla="*/ 40 h 737"/>
                <a:gd name="T42" fmla="*/ 431 w 473"/>
                <a:gd name="T43" fmla="*/ 69 h 737"/>
                <a:gd name="T44" fmla="*/ 431 w 473"/>
                <a:gd name="T45" fmla="*/ 590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3" h="737">
                  <a:moveTo>
                    <a:pt x="445" y="0"/>
                  </a:moveTo>
                  <a:lnTo>
                    <a:pt x="29" y="0"/>
                  </a:lnTo>
                  <a:cubicBezTo>
                    <a:pt x="13" y="0"/>
                    <a:pt x="0" y="13"/>
                    <a:pt x="0" y="29"/>
                  </a:cubicBezTo>
                  <a:lnTo>
                    <a:pt x="0" y="709"/>
                  </a:lnTo>
                  <a:cubicBezTo>
                    <a:pt x="0" y="725"/>
                    <a:pt x="13" y="737"/>
                    <a:pt x="29" y="737"/>
                  </a:cubicBezTo>
                  <a:lnTo>
                    <a:pt x="445" y="737"/>
                  </a:lnTo>
                  <a:cubicBezTo>
                    <a:pt x="461" y="737"/>
                    <a:pt x="473" y="725"/>
                    <a:pt x="473" y="709"/>
                  </a:cubicBezTo>
                  <a:lnTo>
                    <a:pt x="473" y="29"/>
                  </a:lnTo>
                  <a:cubicBezTo>
                    <a:pt x="473" y="13"/>
                    <a:pt x="461" y="0"/>
                    <a:pt x="445" y="0"/>
                  </a:cubicBezTo>
                  <a:close/>
                  <a:moveTo>
                    <a:pt x="237" y="727"/>
                  </a:moveTo>
                  <a:cubicBezTo>
                    <a:pt x="211" y="727"/>
                    <a:pt x="190" y="706"/>
                    <a:pt x="190" y="680"/>
                  </a:cubicBezTo>
                  <a:cubicBezTo>
                    <a:pt x="190" y="655"/>
                    <a:pt x="211" y="634"/>
                    <a:pt x="237" y="634"/>
                  </a:cubicBezTo>
                  <a:cubicBezTo>
                    <a:pt x="262" y="634"/>
                    <a:pt x="283" y="655"/>
                    <a:pt x="283" y="680"/>
                  </a:cubicBezTo>
                  <a:cubicBezTo>
                    <a:pt x="283" y="706"/>
                    <a:pt x="262" y="727"/>
                    <a:pt x="237" y="727"/>
                  </a:cubicBezTo>
                  <a:close/>
                  <a:moveTo>
                    <a:pt x="431" y="590"/>
                  </a:moveTo>
                  <a:cubicBezTo>
                    <a:pt x="431" y="606"/>
                    <a:pt x="418" y="619"/>
                    <a:pt x="402" y="619"/>
                  </a:cubicBezTo>
                  <a:lnTo>
                    <a:pt x="71" y="619"/>
                  </a:lnTo>
                  <a:cubicBezTo>
                    <a:pt x="56" y="619"/>
                    <a:pt x="43" y="606"/>
                    <a:pt x="43" y="590"/>
                  </a:cubicBezTo>
                  <a:lnTo>
                    <a:pt x="43" y="69"/>
                  </a:lnTo>
                  <a:cubicBezTo>
                    <a:pt x="43" y="53"/>
                    <a:pt x="56" y="40"/>
                    <a:pt x="71" y="40"/>
                  </a:cubicBezTo>
                  <a:lnTo>
                    <a:pt x="402" y="40"/>
                  </a:lnTo>
                  <a:cubicBezTo>
                    <a:pt x="418" y="40"/>
                    <a:pt x="431" y="53"/>
                    <a:pt x="431" y="69"/>
                  </a:cubicBezTo>
                  <a:lnTo>
                    <a:pt x="431" y="59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Signal">
              <a:extLst>
                <a:ext uri="{FF2B5EF4-FFF2-40B4-BE49-F238E27FC236}">
                  <a16:creationId xmlns:a16="http://schemas.microsoft.com/office/drawing/2014/main" id="{C49B25DA-EB81-48FE-B4BC-D387FB0BD2B8}"/>
                </a:ext>
              </a:extLst>
            </p:cNvPr>
            <p:cNvSpPr>
              <a:spLocks/>
            </p:cNvSpPr>
            <p:nvPr>
              <p:custDataLst>
                <p:tags r:id="rId6"/>
              </p:custDataLst>
            </p:nvPr>
          </p:nvSpPr>
          <p:spPr bwMode="auto">
            <a:xfrm>
              <a:off x="181" y="8"/>
              <a:ext cx="177" cy="178"/>
            </a:xfrm>
            <a:custGeom>
              <a:avLst/>
              <a:gdLst>
                <a:gd name="T0" fmla="*/ 0 w 401"/>
                <a:gd name="T1" fmla="*/ 0 h 402"/>
                <a:gd name="T2" fmla="*/ 0 w 401"/>
                <a:gd name="T3" fmla="*/ 34 h 402"/>
                <a:gd name="T4" fmla="*/ 367 w 401"/>
                <a:gd name="T5" fmla="*/ 402 h 402"/>
                <a:gd name="T6" fmla="*/ 401 w 401"/>
                <a:gd name="T7" fmla="*/ 402 h 402"/>
                <a:gd name="T8" fmla="*/ 0 w 401"/>
                <a:gd name="T9" fmla="*/ 0 h 402"/>
              </a:gdLst>
              <a:ahLst/>
              <a:cxnLst>
                <a:cxn ang="0">
                  <a:pos x="T0" y="T1"/>
                </a:cxn>
                <a:cxn ang="0">
                  <a:pos x="T2" y="T3"/>
                </a:cxn>
                <a:cxn ang="0">
                  <a:pos x="T4" y="T5"/>
                </a:cxn>
                <a:cxn ang="0">
                  <a:pos x="T6" y="T7"/>
                </a:cxn>
                <a:cxn ang="0">
                  <a:pos x="T8" y="T9"/>
                </a:cxn>
              </a:cxnLst>
              <a:rect l="0" t="0" r="r" b="b"/>
              <a:pathLst>
                <a:path w="401" h="402">
                  <a:moveTo>
                    <a:pt x="0" y="0"/>
                  </a:moveTo>
                  <a:lnTo>
                    <a:pt x="0" y="34"/>
                  </a:lnTo>
                  <a:cubicBezTo>
                    <a:pt x="202" y="34"/>
                    <a:pt x="367" y="199"/>
                    <a:pt x="367" y="402"/>
                  </a:cubicBezTo>
                  <a:lnTo>
                    <a:pt x="401" y="402"/>
                  </a:lnTo>
                  <a:cubicBezTo>
                    <a:pt x="401" y="180"/>
                    <a:pt x="221" y="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Signal">
              <a:extLst>
                <a:ext uri="{FF2B5EF4-FFF2-40B4-BE49-F238E27FC236}">
                  <a16:creationId xmlns:a16="http://schemas.microsoft.com/office/drawing/2014/main" id="{E759E617-4C96-4E3D-87E2-8230B94251E4}"/>
                </a:ext>
              </a:extLst>
            </p:cNvPr>
            <p:cNvSpPr>
              <a:spLocks/>
            </p:cNvSpPr>
            <p:nvPr>
              <p:custDataLst>
                <p:tags r:id="rId7"/>
              </p:custDataLst>
            </p:nvPr>
          </p:nvSpPr>
          <p:spPr bwMode="auto">
            <a:xfrm>
              <a:off x="172" y="54"/>
              <a:ext cx="141" cy="140"/>
            </a:xfrm>
            <a:custGeom>
              <a:avLst/>
              <a:gdLst>
                <a:gd name="T0" fmla="*/ 0 w 320"/>
                <a:gd name="T1" fmla="*/ 0 h 319"/>
                <a:gd name="T2" fmla="*/ 0 w 320"/>
                <a:gd name="T3" fmla="*/ 34 h 319"/>
                <a:gd name="T4" fmla="*/ 285 w 320"/>
                <a:gd name="T5" fmla="*/ 319 h 319"/>
                <a:gd name="T6" fmla="*/ 319 w 320"/>
                <a:gd name="T7" fmla="*/ 319 h 319"/>
                <a:gd name="T8" fmla="*/ 0 w 320"/>
                <a:gd name="T9" fmla="*/ 0 h 319"/>
              </a:gdLst>
              <a:ahLst/>
              <a:cxnLst>
                <a:cxn ang="0">
                  <a:pos x="T0" y="T1"/>
                </a:cxn>
                <a:cxn ang="0">
                  <a:pos x="T2" y="T3"/>
                </a:cxn>
                <a:cxn ang="0">
                  <a:pos x="T4" y="T5"/>
                </a:cxn>
                <a:cxn ang="0">
                  <a:pos x="T6" y="T7"/>
                </a:cxn>
                <a:cxn ang="0">
                  <a:pos x="T8" y="T9"/>
                </a:cxn>
              </a:cxnLst>
              <a:rect l="0" t="0" r="r" b="b"/>
              <a:pathLst>
                <a:path w="320" h="319">
                  <a:moveTo>
                    <a:pt x="0" y="0"/>
                  </a:moveTo>
                  <a:lnTo>
                    <a:pt x="0" y="34"/>
                  </a:lnTo>
                  <a:cubicBezTo>
                    <a:pt x="157" y="34"/>
                    <a:pt x="285" y="162"/>
                    <a:pt x="285" y="319"/>
                  </a:cubicBezTo>
                  <a:lnTo>
                    <a:pt x="319" y="319"/>
                  </a:lnTo>
                  <a:cubicBezTo>
                    <a:pt x="320" y="143"/>
                    <a:pt x="176" y="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Signal">
              <a:extLst>
                <a:ext uri="{FF2B5EF4-FFF2-40B4-BE49-F238E27FC236}">
                  <a16:creationId xmlns:a16="http://schemas.microsoft.com/office/drawing/2014/main" id="{4DF40E34-5F32-4612-840B-3BBEF4537AAE}"/>
                </a:ext>
              </a:extLst>
            </p:cNvPr>
            <p:cNvSpPr>
              <a:spLocks/>
            </p:cNvSpPr>
            <p:nvPr>
              <p:custDataLst>
                <p:tags r:id="rId8"/>
              </p:custDataLst>
            </p:nvPr>
          </p:nvSpPr>
          <p:spPr bwMode="auto">
            <a:xfrm>
              <a:off x="164" y="89"/>
              <a:ext cx="113" cy="113"/>
            </a:xfrm>
            <a:custGeom>
              <a:avLst/>
              <a:gdLst>
                <a:gd name="T0" fmla="*/ 0 w 256"/>
                <a:gd name="T1" fmla="*/ 0 h 255"/>
                <a:gd name="T2" fmla="*/ 0 w 256"/>
                <a:gd name="T3" fmla="*/ 34 h 255"/>
                <a:gd name="T4" fmla="*/ 222 w 256"/>
                <a:gd name="T5" fmla="*/ 255 h 255"/>
                <a:gd name="T6" fmla="*/ 256 w 256"/>
                <a:gd name="T7" fmla="*/ 255 h 255"/>
                <a:gd name="T8" fmla="*/ 0 w 256"/>
                <a:gd name="T9" fmla="*/ 0 h 255"/>
              </a:gdLst>
              <a:ahLst/>
              <a:cxnLst>
                <a:cxn ang="0">
                  <a:pos x="T0" y="T1"/>
                </a:cxn>
                <a:cxn ang="0">
                  <a:pos x="T2" y="T3"/>
                </a:cxn>
                <a:cxn ang="0">
                  <a:pos x="T4" y="T5"/>
                </a:cxn>
                <a:cxn ang="0">
                  <a:pos x="T6" y="T7"/>
                </a:cxn>
                <a:cxn ang="0">
                  <a:pos x="T8" y="T9"/>
                </a:cxn>
              </a:cxnLst>
              <a:rect l="0" t="0" r="r" b="b"/>
              <a:pathLst>
                <a:path w="256" h="255">
                  <a:moveTo>
                    <a:pt x="0" y="0"/>
                  </a:moveTo>
                  <a:lnTo>
                    <a:pt x="0" y="34"/>
                  </a:lnTo>
                  <a:cubicBezTo>
                    <a:pt x="122" y="34"/>
                    <a:pt x="222" y="133"/>
                    <a:pt x="222" y="255"/>
                  </a:cubicBezTo>
                  <a:lnTo>
                    <a:pt x="256" y="255"/>
                  </a:lnTo>
                  <a:cubicBezTo>
                    <a:pt x="256" y="114"/>
                    <a:pt x="141" y="0"/>
                    <a:pt x="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2" name="TextBox 21">
            <a:extLst>
              <a:ext uri="{FF2B5EF4-FFF2-40B4-BE49-F238E27FC236}">
                <a16:creationId xmlns:a16="http://schemas.microsoft.com/office/drawing/2014/main" id="{CBBF9833-18DA-45DB-99ED-B86E2C792BBA}"/>
              </a:ext>
            </a:extLst>
          </p:cNvPr>
          <p:cNvSpPr txBox="1"/>
          <p:nvPr/>
        </p:nvSpPr>
        <p:spPr>
          <a:xfrm>
            <a:off x="5022351" y="4220604"/>
            <a:ext cx="1140056" cy="769441"/>
          </a:xfrm>
          <a:prstGeom prst="rect">
            <a:avLst/>
          </a:prstGeom>
          <a:noFill/>
        </p:spPr>
        <p:txBody>
          <a:bodyPr wrap="none" rtlCol="0">
            <a:spAutoFit/>
          </a:bodyPr>
          <a:lstStyle/>
          <a:p>
            <a:r>
              <a:rPr lang="en-GB" sz="4400" b="1" dirty="0">
                <a:latin typeface="+mj-lt"/>
              </a:rPr>
              <a:t>72</a:t>
            </a:r>
            <a:r>
              <a:rPr lang="en-GB" sz="4400" b="1" baseline="30000" dirty="0">
                <a:latin typeface="+mj-lt"/>
              </a:rPr>
              <a:t>%</a:t>
            </a:r>
          </a:p>
        </p:txBody>
      </p:sp>
      <p:sp>
        <p:nvSpPr>
          <p:cNvPr id="23" name="TextBox 22">
            <a:extLst>
              <a:ext uri="{FF2B5EF4-FFF2-40B4-BE49-F238E27FC236}">
                <a16:creationId xmlns:a16="http://schemas.microsoft.com/office/drawing/2014/main" id="{479C8725-39C1-4F77-A00D-18A51E44A417}"/>
              </a:ext>
            </a:extLst>
          </p:cNvPr>
          <p:cNvSpPr txBox="1"/>
          <p:nvPr/>
        </p:nvSpPr>
        <p:spPr>
          <a:xfrm>
            <a:off x="5022351" y="4948822"/>
            <a:ext cx="2635658" cy="1200329"/>
          </a:xfrm>
          <a:prstGeom prst="rect">
            <a:avLst/>
          </a:prstGeom>
          <a:noFill/>
        </p:spPr>
        <p:txBody>
          <a:bodyPr wrap="none" rtlCol="0">
            <a:spAutoFit/>
          </a:bodyPr>
          <a:lstStyle/>
          <a:p>
            <a:r>
              <a:rPr lang="en-GB" sz="2400" cap="all" dirty="0"/>
              <a:t>Mobile internet</a:t>
            </a:r>
          </a:p>
          <a:p>
            <a:r>
              <a:rPr lang="en-GB" sz="2400" cap="all" dirty="0"/>
              <a:t>Penetration rate</a:t>
            </a:r>
          </a:p>
          <a:p>
            <a:r>
              <a:rPr lang="en-GB" sz="2400" cap="all" dirty="0"/>
              <a:t>In 2020</a:t>
            </a:r>
          </a:p>
        </p:txBody>
      </p:sp>
      <p:sp>
        <p:nvSpPr>
          <p:cNvPr id="25" name="Magnifying_Glass2" descr="{&quot;Key&quot;:&quot;POWER_USER_SHAPE_ICON&quot;,&quot;Value&quot;:&quot;POWER_USER_SHAPE_ICON_STYLE_1&quot;}">
            <a:extLst>
              <a:ext uri="{FF2B5EF4-FFF2-40B4-BE49-F238E27FC236}">
                <a16:creationId xmlns:a16="http://schemas.microsoft.com/office/drawing/2014/main" id="{DAC20985-7971-4D33-91A3-1D3D02422362}"/>
              </a:ext>
            </a:extLst>
          </p:cNvPr>
          <p:cNvSpPr>
            <a:spLocks noChangeAspect="1" noEditPoints="1"/>
          </p:cNvSpPr>
          <p:nvPr>
            <p:custDataLst>
              <p:tags r:id="rId4"/>
            </p:custDataLst>
          </p:nvPr>
        </p:nvSpPr>
        <p:spPr bwMode="auto">
          <a:xfrm>
            <a:off x="8790131" y="2789479"/>
            <a:ext cx="542925" cy="542925"/>
          </a:xfrm>
          <a:custGeom>
            <a:avLst/>
            <a:gdLst>
              <a:gd name="T0" fmla="*/ 634 w 896"/>
              <a:gd name="T1" fmla="*/ 514 h 896"/>
              <a:gd name="T2" fmla="*/ 623 w 896"/>
              <a:gd name="T3" fmla="*/ 503 h 896"/>
              <a:gd name="T4" fmla="*/ 619 w 896"/>
              <a:gd name="T5" fmla="*/ 500 h 896"/>
              <a:gd name="T6" fmla="*/ 665 w 896"/>
              <a:gd name="T7" fmla="*/ 332 h 896"/>
              <a:gd name="T8" fmla="*/ 332 w 896"/>
              <a:gd name="T9" fmla="*/ 0 h 896"/>
              <a:gd name="T10" fmla="*/ 0 w 896"/>
              <a:gd name="T11" fmla="*/ 332 h 896"/>
              <a:gd name="T12" fmla="*/ 332 w 896"/>
              <a:gd name="T13" fmla="*/ 665 h 896"/>
              <a:gd name="T14" fmla="*/ 499 w 896"/>
              <a:gd name="T15" fmla="*/ 620 h 896"/>
              <a:gd name="T16" fmla="*/ 502 w 896"/>
              <a:gd name="T17" fmla="*/ 624 h 896"/>
              <a:gd name="T18" fmla="*/ 514 w 896"/>
              <a:gd name="T19" fmla="*/ 635 h 896"/>
              <a:gd name="T20" fmla="*/ 583 w 896"/>
              <a:gd name="T21" fmla="*/ 584 h 896"/>
              <a:gd name="T22" fmla="*/ 634 w 896"/>
              <a:gd name="T23" fmla="*/ 514 h 896"/>
              <a:gd name="T24" fmla="*/ 332 w 896"/>
              <a:gd name="T25" fmla="*/ 564 h 896"/>
              <a:gd name="T26" fmla="*/ 100 w 896"/>
              <a:gd name="T27" fmla="*/ 332 h 896"/>
              <a:gd name="T28" fmla="*/ 332 w 896"/>
              <a:gd name="T29" fmla="*/ 100 h 896"/>
              <a:gd name="T30" fmla="*/ 564 w 896"/>
              <a:gd name="T31" fmla="*/ 332 h 896"/>
              <a:gd name="T32" fmla="*/ 332 w 896"/>
              <a:gd name="T33" fmla="*/ 564 h 896"/>
              <a:gd name="T34" fmla="*/ 860 w 896"/>
              <a:gd name="T35" fmla="*/ 740 h 896"/>
              <a:gd name="T36" fmla="*/ 657 w 896"/>
              <a:gd name="T37" fmla="*/ 537 h 896"/>
              <a:gd name="T38" fmla="*/ 604 w 896"/>
              <a:gd name="T39" fmla="*/ 606 h 896"/>
              <a:gd name="T40" fmla="*/ 537 w 896"/>
              <a:gd name="T41" fmla="*/ 658 h 896"/>
              <a:gd name="T42" fmla="*/ 739 w 896"/>
              <a:gd name="T43" fmla="*/ 860 h 896"/>
              <a:gd name="T44" fmla="*/ 798 w 896"/>
              <a:gd name="T45" fmla="*/ 798 h 896"/>
              <a:gd name="T46" fmla="*/ 860 w 896"/>
              <a:gd name="T47" fmla="*/ 740 h 896"/>
              <a:gd name="T48" fmla="*/ 881 w 896"/>
              <a:gd name="T49" fmla="*/ 769 h 896"/>
              <a:gd name="T50" fmla="*/ 828 w 896"/>
              <a:gd name="T51" fmla="*/ 831 h 896"/>
              <a:gd name="T52" fmla="*/ 769 w 896"/>
              <a:gd name="T53" fmla="*/ 882 h 896"/>
              <a:gd name="T54" fmla="*/ 864 w 896"/>
              <a:gd name="T55" fmla="*/ 865 h 896"/>
              <a:gd name="T56" fmla="*/ 881 w 896"/>
              <a:gd name="T57" fmla="*/ 769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96" h="896">
                <a:moveTo>
                  <a:pt x="634" y="514"/>
                </a:moveTo>
                <a:lnTo>
                  <a:pt x="623" y="503"/>
                </a:lnTo>
                <a:cubicBezTo>
                  <a:pt x="622" y="502"/>
                  <a:pt x="621" y="501"/>
                  <a:pt x="619" y="500"/>
                </a:cubicBezTo>
                <a:cubicBezTo>
                  <a:pt x="648" y="451"/>
                  <a:pt x="665" y="393"/>
                  <a:pt x="665" y="332"/>
                </a:cubicBezTo>
                <a:cubicBezTo>
                  <a:pt x="665" y="149"/>
                  <a:pt x="516" y="0"/>
                  <a:pt x="332" y="0"/>
                </a:cubicBezTo>
                <a:cubicBezTo>
                  <a:pt x="149" y="0"/>
                  <a:pt x="0" y="149"/>
                  <a:pt x="0" y="332"/>
                </a:cubicBezTo>
                <a:cubicBezTo>
                  <a:pt x="0" y="516"/>
                  <a:pt x="149" y="665"/>
                  <a:pt x="332" y="665"/>
                </a:cubicBezTo>
                <a:cubicBezTo>
                  <a:pt x="393" y="665"/>
                  <a:pt x="450" y="648"/>
                  <a:pt x="499" y="620"/>
                </a:cubicBezTo>
                <a:cubicBezTo>
                  <a:pt x="500" y="621"/>
                  <a:pt x="501" y="622"/>
                  <a:pt x="502" y="624"/>
                </a:cubicBezTo>
                <a:lnTo>
                  <a:pt x="514" y="635"/>
                </a:lnTo>
                <a:cubicBezTo>
                  <a:pt x="536" y="622"/>
                  <a:pt x="565" y="603"/>
                  <a:pt x="583" y="584"/>
                </a:cubicBezTo>
                <a:cubicBezTo>
                  <a:pt x="602" y="565"/>
                  <a:pt x="621" y="536"/>
                  <a:pt x="634" y="514"/>
                </a:cubicBezTo>
                <a:close/>
                <a:moveTo>
                  <a:pt x="332" y="564"/>
                </a:moveTo>
                <a:cubicBezTo>
                  <a:pt x="204" y="564"/>
                  <a:pt x="100" y="460"/>
                  <a:pt x="100" y="332"/>
                </a:cubicBezTo>
                <a:cubicBezTo>
                  <a:pt x="100" y="204"/>
                  <a:pt x="204" y="100"/>
                  <a:pt x="332" y="100"/>
                </a:cubicBezTo>
                <a:cubicBezTo>
                  <a:pt x="460" y="100"/>
                  <a:pt x="564" y="204"/>
                  <a:pt x="564" y="332"/>
                </a:cubicBezTo>
                <a:cubicBezTo>
                  <a:pt x="564" y="460"/>
                  <a:pt x="460" y="564"/>
                  <a:pt x="332" y="564"/>
                </a:cubicBezTo>
                <a:close/>
                <a:moveTo>
                  <a:pt x="860" y="740"/>
                </a:moveTo>
                <a:lnTo>
                  <a:pt x="657" y="537"/>
                </a:lnTo>
                <a:cubicBezTo>
                  <a:pt x="648" y="554"/>
                  <a:pt x="633" y="577"/>
                  <a:pt x="604" y="606"/>
                </a:cubicBezTo>
                <a:cubicBezTo>
                  <a:pt x="576" y="634"/>
                  <a:pt x="554" y="649"/>
                  <a:pt x="537" y="658"/>
                </a:cubicBezTo>
                <a:lnTo>
                  <a:pt x="739" y="860"/>
                </a:lnTo>
                <a:cubicBezTo>
                  <a:pt x="756" y="841"/>
                  <a:pt x="780" y="816"/>
                  <a:pt x="798" y="798"/>
                </a:cubicBezTo>
                <a:cubicBezTo>
                  <a:pt x="817" y="779"/>
                  <a:pt x="842" y="756"/>
                  <a:pt x="860" y="740"/>
                </a:cubicBezTo>
                <a:close/>
                <a:moveTo>
                  <a:pt x="881" y="769"/>
                </a:moveTo>
                <a:cubicBezTo>
                  <a:pt x="871" y="784"/>
                  <a:pt x="855" y="805"/>
                  <a:pt x="828" y="831"/>
                </a:cubicBezTo>
                <a:cubicBezTo>
                  <a:pt x="803" y="856"/>
                  <a:pt x="784" y="872"/>
                  <a:pt x="769" y="882"/>
                </a:cubicBezTo>
                <a:cubicBezTo>
                  <a:pt x="800" y="896"/>
                  <a:pt x="838" y="890"/>
                  <a:pt x="864" y="865"/>
                </a:cubicBezTo>
                <a:cubicBezTo>
                  <a:pt x="890" y="839"/>
                  <a:pt x="896" y="801"/>
                  <a:pt x="881" y="769"/>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TextBox 25">
            <a:extLst>
              <a:ext uri="{FF2B5EF4-FFF2-40B4-BE49-F238E27FC236}">
                <a16:creationId xmlns:a16="http://schemas.microsoft.com/office/drawing/2014/main" id="{1F8F15EF-DF76-4C3F-AB9B-9A86EDE71981}"/>
              </a:ext>
            </a:extLst>
          </p:cNvPr>
          <p:cNvSpPr txBox="1"/>
          <p:nvPr/>
        </p:nvSpPr>
        <p:spPr>
          <a:xfrm>
            <a:off x="7738240" y="2664869"/>
            <a:ext cx="1140056" cy="769441"/>
          </a:xfrm>
          <a:prstGeom prst="rect">
            <a:avLst/>
          </a:prstGeom>
          <a:noFill/>
        </p:spPr>
        <p:txBody>
          <a:bodyPr wrap="none" rtlCol="0">
            <a:spAutoFit/>
          </a:bodyPr>
          <a:lstStyle/>
          <a:p>
            <a:r>
              <a:rPr lang="en-GB" sz="4400" b="1" dirty="0">
                <a:latin typeface="+mj-lt"/>
              </a:rPr>
              <a:t>81</a:t>
            </a:r>
            <a:r>
              <a:rPr lang="en-GB" sz="4400" b="1" baseline="30000" dirty="0">
                <a:latin typeface="+mj-lt"/>
              </a:rPr>
              <a:t>%</a:t>
            </a:r>
          </a:p>
        </p:txBody>
      </p:sp>
      <p:sp>
        <p:nvSpPr>
          <p:cNvPr id="27" name="TextBox 26">
            <a:extLst>
              <a:ext uri="{FF2B5EF4-FFF2-40B4-BE49-F238E27FC236}">
                <a16:creationId xmlns:a16="http://schemas.microsoft.com/office/drawing/2014/main" id="{606FA0AF-654E-4278-B123-29EC33C8EA3A}"/>
              </a:ext>
            </a:extLst>
          </p:cNvPr>
          <p:cNvSpPr txBox="1"/>
          <p:nvPr/>
        </p:nvSpPr>
        <p:spPr>
          <a:xfrm>
            <a:off x="7738240" y="3393087"/>
            <a:ext cx="2748766" cy="830997"/>
          </a:xfrm>
          <a:prstGeom prst="rect">
            <a:avLst/>
          </a:prstGeom>
          <a:noFill/>
        </p:spPr>
        <p:txBody>
          <a:bodyPr wrap="none" rtlCol="0">
            <a:spAutoFit/>
          </a:bodyPr>
          <a:lstStyle/>
          <a:p>
            <a:r>
              <a:rPr lang="en-GB" sz="2400" cap="all" dirty="0"/>
              <a:t>Search for Goods</a:t>
            </a:r>
          </a:p>
          <a:p>
            <a:r>
              <a:rPr lang="en-GB" sz="2400" cap="all" dirty="0"/>
              <a:t>And services</a:t>
            </a:r>
          </a:p>
        </p:txBody>
      </p:sp>
      <p:sp>
        <p:nvSpPr>
          <p:cNvPr id="28" name="TextBox 27">
            <a:extLst>
              <a:ext uri="{FF2B5EF4-FFF2-40B4-BE49-F238E27FC236}">
                <a16:creationId xmlns:a16="http://schemas.microsoft.com/office/drawing/2014/main" id="{0C5A5166-A6E5-4BCD-BCED-A7BEAE455CD5}"/>
              </a:ext>
            </a:extLst>
          </p:cNvPr>
          <p:cNvSpPr txBox="1"/>
          <p:nvPr/>
        </p:nvSpPr>
        <p:spPr>
          <a:xfrm>
            <a:off x="10094203" y="6318702"/>
            <a:ext cx="1459054" cy="261610"/>
          </a:xfrm>
          <a:prstGeom prst="rect">
            <a:avLst/>
          </a:prstGeom>
          <a:noFill/>
        </p:spPr>
        <p:txBody>
          <a:bodyPr wrap="none" rtlCol="0">
            <a:spAutoFit/>
          </a:bodyPr>
          <a:lstStyle/>
          <a:p>
            <a:r>
              <a:rPr lang="en-GB" sz="1100" dirty="0"/>
              <a:t>Source:  Statista, 2020</a:t>
            </a:r>
          </a:p>
        </p:txBody>
      </p:sp>
    </p:spTree>
    <p:extLst>
      <p:ext uri="{BB962C8B-B14F-4D97-AF65-F5344CB8AC3E}">
        <p14:creationId xmlns:p14="http://schemas.microsoft.com/office/powerpoint/2010/main" val="40846658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D9A705B-1532-4901-9331-DB60A18114D8}"/>
              </a:ext>
            </a:extLst>
          </p:cNvPr>
          <p:cNvSpPr>
            <a:spLocks noGrp="1"/>
          </p:cNvSpPr>
          <p:nvPr>
            <p:ph type="body" sz="quarter" idx="10"/>
          </p:nvPr>
        </p:nvSpPr>
        <p:spPr/>
        <p:txBody>
          <a:bodyPr/>
          <a:lstStyle/>
          <a:p>
            <a:r>
              <a:rPr lang="en-GB" dirty="0"/>
              <a:t>There are a number of ways to drive print to pixels through imagery</a:t>
            </a:r>
          </a:p>
        </p:txBody>
      </p:sp>
    </p:spTree>
    <p:extLst>
      <p:ext uri="{BB962C8B-B14F-4D97-AF65-F5344CB8AC3E}">
        <p14:creationId xmlns:p14="http://schemas.microsoft.com/office/powerpoint/2010/main" val="18847792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EEC23E9F-771F-4617-AA17-048BA7747858}"/>
              </a:ext>
            </a:extLst>
          </p:cNvPr>
          <p:cNvSpPr>
            <a:spLocks noGrp="1"/>
          </p:cNvSpPr>
          <p:nvPr>
            <p:ph sz="quarter" idx="16"/>
          </p:nvPr>
        </p:nvSpPr>
        <p:spPr>
          <a:xfrm>
            <a:off x="485774" y="1800225"/>
            <a:ext cx="4487670" cy="4479925"/>
          </a:xfrm>
        </p:spPr>
        <p:txBody>
          <a:bodyPr/>
          <a:lstStyle/>
          <a:p>
            <a:r>
              <a:rPr lang="en-GB" dirty="0"/>
              <a:t>This furniture retailer has given people the opportunity to see their up market furniture in situ</a:t>
            </a:r>
          </a:p>
          <a:p>
            <a:r>
              <a:rPr lang="en-GB" dirty="0"/>
              <a:t>Put your camera over the QR code from a printed piece</a:t>
            </a:r>
          </a:p>
          <a:p>
            <a:r>
              <a:rPr lang="en-GB" dirty="0"/>
              <a:t>It takes you to a </a:t>
            </a:r>
            <a:r>
              <a:rPr lang="en-GB" dirty="0" err="1"/>
              <a:t>produt</a:t>
            </a:r>
            <a:r>
              <a:rPr lang="en-GB" dirty="0"/>
              <a:t> overview page</a:t>
            </a:r>
          </a:p>
          <a:p>
            <a:r>
              <a:rPr lang="en-GB" dirty="0"/>
              <a:t>Select the product you want to see</a:t>
            </a:r>
          </a:p>
          <a:p>
            <a:r>
              <a:rPr lang="en-GB" dirty="0"/>
              <a:t>The selected chair is shown in front of the bookcase in the dining room!</a:t>
            </a:r>
          </a:p>
          <a:p>
            <a:r>
              <a:rPr lang="en-GB" dirty="0"/>
              <a:t>Allows you to really see what products will look like in your home</a:t>
            </a:r>
          </a:p>
          <a:p>
            <a:r>
              <a:rPr lang="en-GB" dirty="0"/>
              <a:t>But the possibilities are endless…</a:t>
            </a:r>
          </a:p>
          <a:p>
            <a:endParaRPr lang="en-GB" dirty="0"/>
          </a:p>
        </p:txBody>
      </p:sp>
      <p:sp>
        <p:nvSpPr>
          <p:cNvPr id="8" name="Title 7">
            <a:extLst>
              <a:ext uri="{FF2B5EF4-FFF2-40B4-BE49-F238E27FC236}">
                <a16:creationId xmlns:a16="http://schemas.microsoft.com/office/drawing/2014/main" id="{44E6DBD0-8A55-4D7D-BF38-1295BDDA7634}"/>
              </a:ext>
            </a:extLst>
          </p:cNvPr>
          <p:cNvSpPr>
            <a:spLocks noGrp="1"/>
          </p:cNvSpPr>
          <p:nvPr>
            <p:ph type="title"/>
          </p:nvPr>
        </p:nvSpPr>
        <p:spPr/>
        <p:txBody>
          <a:bodyPr/>
          <a:lstStyle/>
          <a:p>
            <a:r>
              <a:rPr lang="en-GB" dirty="0"/>
              <a:t>Augmented reality</a:t>
            </a:r>
          </a:p>
        </p:txBody>
      </p:sp>
      <p:sp>
        <p:nvSpPr>
          <p:cNvPr id="9" name="Text Placeholder 8">
            <a:extLst>
              <a:ext uri="{FF2B5EF4-FFF2-40B4-BE49-F238E27FC236}">
                <a16:creationId xmlns:a16="http://schemas.microsoft.com/office/drawing/2014/main" id="{D4E598C1-7C90-4CAB-9579-0C7826B4BB8E}"/>
              </a:ext>
            </a:extLst>
          </p:cNvPr>
          <p:cNvSpPr>
            <a:spLocks noGrp="1"/>
          </p:cNvSpPr>
          <p:nvPr>
            <p:ph type="body" sz="quarter" idx="11"/>
          </p:nvPr>
        </p:nvSpPr>
        <p:spPr/>
        <p:txBody>
          <a:bodyPr/>
          <a:lstStyle/>
          <a:p>
            <a:endParaRPr lang="en-GB" dirty="0"/>
          </a:p>
        </p:txBody>
      </p:sp>
      <p:pic>
        <p:nvPicPr>
          <p:cNvPr id="1026" name="gmail-m_-3495835370742500963_x0000_i1030">
            <a:extLst>
              <a:ext uri="{FF2B5EF4-FFF2-40B4-BE49-F238E27FC236}">
                <a16:creationId xmlns:a16="http://schemas.microsoft.com/office/drawing/2014/main" id="{4B4B57E1-251A-428D-9185-C6810B876DA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95082" y="5090089"/>
            <a:ext cx="697737" cy="697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oup 3">
            <a:extLst>
              <a:ext uri="{FF2B5EF4-FFF2-40B4-BE49-F238E27FC236}">
                <a16:creationId xmlns:a16="http://schemas.microsoft.com/office/drawing/2014/main" id="{5DC5FA9D-EE3D-4044-BE34-C5B95D097567}"/>
              </a:ext>
            </a:extLst>
          </p:cNvPr>
          <p:cNvGrpSpPr/>
          <p:nvPr/>
        </p:nvGrpSpPr>
        <p:grpSpPr>
          <a:xfrm>
            <a:off x="7583348" y="1844224"/>
            <a:ext cx="1994506" cy="4077939"/>
            <a:chOff x="6796087" y="3222625"/>
            <a:chExt cx="1495425" cy="3057525"/>
          </a:xfrm>
        </p:grpSpPr>
        <p:pic>
          <p:nvPicPr>
            <p:cNvPr id="3" name="Picture 4" descr="Download download - iphone frame for powerpoint png - Free PNG Images |  TOPpng">
              <a:extLst>
                <a:ext uri="{FF2B5EF4-FFF2-40B4-BE49-F238E27FC236}">
                  <a16:creationId xmlns:a16="http://schemas.microsoft.com/office/drawing/2014/main" id="{25413A5F-29E4-4F87-A27A-ED201356188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96087" y="3222625"/>
              <a:ext cx="1495425" cy="3057525"/>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descr="bf273edb-de54-41cd-bfbd-1392df504e7c@EURP119">
              <a:extLst>
                <a:ext uri="{FF2B5EF4-FFF2-40B4-BE49-F238E27FC236}">
                  <a16:creationId xmlns:a16="http://schemas.microsoft.com/office/drawing/2014/main" id="{68D82AA8-93AB-4EB0-B6A1-AE3DB3D795D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89225" y="3536936"/>
              <a:ext cx="1305464" cy="2335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a:extLst>
              <a:ext uri="{FF2B5EF4-FFF2-40B4-BE49-F238E27FC236}">
                <a16:creationId xmlns:a16="http://schemas.microsoft.com/office/drawing/2014/main" id="{A01E63FA-43CE-45E8-B086-7DD7E6343708}"/>
              </a:ext>
            </a:extLst>
          </p:cNvPr>
          <p:cNvGrpSpPr/>
          <p:nvPr/>
        </p:nvGrpSpPr>
        <p:grpSpPr>
          <a:xfrm>
            <a:off x="5421955" y="1844224"/>
            <a:ext cx="1994506" cy="4077939"/>
            <a:chOff x="7914619" y="3175697"/>
            <a:chExt cx="1495425" cy="3057525"/>
          </a:xfrm>
        </p:grpSpPr>
        <p:pic>
          <p:nvPicPr>
            <p:cNvPr id="11" name="Picture 4" descr="Download download - iphone frame for powerpoint png - Free PNG Images |  TOPpng">
              <a:extLst>
                <a:ext uri="{FF2B5EF4-FFF2-40B4-BE49-F238E27FC236}">
                  <a16:creationId xmlns:a16="http://schemas.microsoft.com/office/drawing/2014/main" id="{8B957246-B430-4A03-A639-EAF5A2EF3D9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14619" y="3175697"/>
              <a:ext cx="1495425" cy="305752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db4f9e87-a898-4338-8918-fb6620edb2e8@EURP119">
              <a:extLst>
                <a:ext uri="{FF2B5EF4-FFF2-40B4-BE49-F238E27FC236}">
                  <a16:creationId xmlns:a16="http://schemas.microsoft.com/office/drawing/2014/main" id="{7EDCC06E-B766-4114-A44D-0B3DACC30D1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30789" y="3522105"/>
              <a:ext cx="1285118" cy="2298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 name="Group 4">
            <a:extLst>
              <a:ext uri="{FF2B5EF4-FFF2-40B4-BE49-F238E27FC236}">
                <a16:creationId xmlns:a16="http://schemas.microsoft.com/office/drawing/2014/main" id="{C311C6F9-C67E-4E68-81BA-578AD29D364F}"/>
              </a:ext>
            </a:extLst>
          </p:cNvPr>
          <p:cNvGrpSpPr/>
          <p:nvPr/>
        </p:nvGrpSpPr>
        <p:grpSpPr>
          <a:xfrm>
            <a:off x="9738788" y="1773885"/>
            <a:ext cx="1994506" cy="4077939"/>
            <a:chOff x="8645666" y="2883921"/>
            <a:chExt cx="1495425" cy="3057525"/>
          </a:xfrm>
        </p:grpSpPr>
        <p:pic>
          <p:nvPicPr>
            <p:cNvPr id="12" name="Picture 4" descr="Download download - iphone frame for powerpoint png - Free PNG Images |  TOPpng">
              <a:extLst>
                <a:ext uri="{FF2B5EF4-FFF2-40B4-BE49-F238E27FC236}">
                  <a16:creationId xmlns:a16="http://schemas.microsoft.com/office/drawing/2014/main" id="{EF342EB1-5785-48A3-BF19-F0D3D187854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45666" y="2883921"/>
              <a:ext cx="1495425" cy="3057525"/>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9222cab1-321f-4482-86b6-b4c82a3e9c0e@EURP119">
              <a:extLst>
                <a:ext uri="{FF2B5EF4-FFF2-40B4-BE49-F238E27FC236}">
                  <a16:creationId xmlns:a16="http://schemas.microsoft.com/office/drawing/2014/main" id="{7222D3EF-56BC-4424-BB42-D159F6919D2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752640" y="3230329"/>
              <a:ext cx="1285118" cy="2298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6" name="TextBox 15">
            <a:extLst>
              <a:ext uri="{FF2B5EF4-FFF2-40B4-BE49-F238E27FC236}">
                <a16:creationId xmlns:a16="http://schemas.microsoft.com/office/drawing/2014/main" id="{77DA4D60-06E2-4F17-A92D-5B84410C309F}"/>
              </a:ext>
            </a:extLst>
          </p:cNvPr>
          <p:cNvSpPr txBox="1"/>
          <p:nvPr/>
        </p:nvSpPr>
        <p:spPr>
          <a:xfrm>
            <a:off x="4509193" y="5853802"/>
            <a:ext cx="4659161" cy="369332"/>
          </a:xfrm>
          <a:prstGeom prst="rect">
            <a:avLst/>
          </a:prstGeom>
          <a:noFill/>
        </p:spPr>
        <p:txBody>
          <a:bodyPr wrap="none" rtlCol="0">
            <a:spAutoFit/>
          </a:bodyPr>
          <a:lstStyle/>
          <a:p>
            <a:r>
              <a:rPr lang="en-GB" dirty="0"/>
              <a:t>PUT YOUR PHONE CAMERA OVER THE QR CODE</a:t>
            </a:r>
          </a:p>
        </p:txBody>
      </p:sp>
      <p:sp>
        <p:nvSpPr>
          <p:cNvPr id="7" name="TextBox 6">
            <a:extLst>
              <a:ext uri="{FF2B5EF4-FFF2-40B4-BE49-F238E27FC236}">
                <a16:creationId xmlns:a16="http://schemas.microsoft.com/office/drawing/2014/main" id="{028DB7DA-B93D-4850-9B1F-82C1AD3A821E}"/>
              </a:ext>
            </a:extLst>
          </p:cNvPr>
          <p:cNvSpPr txBox="1"/>
          <p:nvPr/>
        </p:nvSpPr>
        <p:spPr>
          <a:xfrm>
            <a:off x="9168354" y="6343296"/>
            <a:ext cx="1678665" cy="261610"/>
          </a:xfrm>
          <a:prstGeom prst="rect">
            <a:avLst/>
          </a:prstGeom>
          <a:noFill/>
        </p:spPr>
        <p:txBody>
          <a:bodyPr wrap="none" rtlCol="0">
            <a:spAutoFit/>
          </a:bodyPr>
          <a:lstStyle/>
          <a:p>
            <a:r>
              <a:rPr lang="en-GB" sz="1100" dirty="0"/>
              <a:t>Source:  UnifiedAR Pty Ltd</a:t>
            </a:r>
          </a:p>
        </p:txBody>
      </p:sp>
      <p:sp>
        <p:nvSpPr>
          <p:cNvPr id="18" name="Slide Number Placeholder 3">
            <a:extLst>
              <a:ext uri="{FF2B5EF4-FFF2-40B4-BE49-F238E27FC236}">
                <a16:creationId xmlns:a16="http://schemas.microsoft.com/office/drawing/2014/main" id="{3C4D7EDC-5543-41F4-B8D5-0DFA19AA670F}"/>
              </a:ext>
            </a:extLst>
          </p:cNvPr>
          <p:cNvSpPr txBox="1">
            <a:spLocks/>
          </p:cNvSpPr>
          <p:nvPr/>
        </p:nvSpPr>
        <p:spPr>
          <a:xfrm>
            <a:off x="9182100" y="6261100"/>
            <a:ext cx="2743200" cy="365125"/>
          </a:xfrm>
          <a:prstGeom prst="rect">
            <a:avLst/>
          </a:prstGeom>
        </p:spPr>
        <p:txBody>
          <a:bodyPr vert="horz" lIns="91440" tIns="45720" rIns="91440" bIns="45720" rtlCol="0" anchor="ctr"/>
          <a:lstStyle>
            <a:defPPr>
              <a:defRPr lang="en-US"/>
            </a:defPPr>
            <a:lvl1pPr algn="r">
              <a:defRPr sz="1200">
                <a:solidFill>
                  <a:schemeClr val="tx1">
                    <a:tint val="75000"/>
                  </a:schemeClr>
                </a:solidFil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787542D-5C6B-4EB3-96EB-9B37C3D5D2F8}" type="slidenum">
              <a:rPr lang="en-GB"/>
              <a:pPr/>
              <a:t>5</a:t>
            </a:fld>
            <a:endParaRPr lang="en-GB" dirty="0"/>
          </a:p>
        </p:txBody>
      </p:sp>
    </p:spTree>
    <p:extLst>
      <p:ext uri="{BB962C8B-B14F-4D97-AF65-F5344CB8AC3E}">
        <p14:creationId xmlns:p14="http://schemas.microsoft.com/office/powerpoint/2010/main" val="12749075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8B5A88-8B0F-43E0-B35B-7E15E6D4AC8C}"/>
              </a:ext>
            </a:extLst>
          </p:cNvPr>
          <p:cNvSpPr>
            <a:spLocks noGrp="1"/>
          </p:cNvSpPr>
          <p:nvPr>
            <p:ph type="title"/>
          </p:nvPr>
        </p:nvSpPr>
        <p:spPr/>
        <p:txBody>
          <a:bodyPr/>
          <a:lstStyle/>
          <a:p>
            <a:r>
              <a:rPr lang="en-GB" dirty="0"/>
              <a:t>Digital IMAGE RECOGNITION</a:t>
            </a:r>
          </a:p>
        </p:txBody>
      </p:sp>
      <p:sp>
        <p:nvSpPr>
          <p:cNvPr id="3" name="Text Placeholder 2">
            <a:extLst>
              <a:ext uri="{FF2B5EF4-FFF2-40B4-BE49-F238E27FC236}">
                <a16:creationId xmlns:a16="http://schemas.microsoft.com/office/drawing/2014/main" id="{17EB4672-2CBF-4834-B5B6-632FF189F38B}"/>
              </a:ext>
            </a:extLst>
          </p:cNvPr>
          <p:cNvSpPr>
            <a:spLocks noGrp="1"/>
          </p:cNvSpPr>
          <p:nvPr>
            <p:ph type="body" sz="quarter" idx="11"/>
          </p:nvPr>
        </p:nvSpPr>
        <p:spPr/>
        <p:txBody>
          <a:bodyPr/>
          <a:lstStyle/>
          <a:p>
            <a:r>
              <a:rPr lang="en-GB" dirty="0"/>
              <a:t>Making print content shoppable</a:t>
            </a:r>
          </a:p>
        </p:txBody>
      </p:sp>
      <p:sp>
        <p:nvSpPr>
          <p:cNvPr id="4" name="Slide Number Placeholder 3">
            <a:extLst>
              <a:ext uri="{FF2B5EF4-FFF2-40B4-BE49-F238E27FC236}">
                <a16:creationId xmlns:a16="http://schemas.microsoft.com/office/drawing/2014/main" id="{E9393A0A-3CFF-45C5-B94C-C5E26F6367CB}"/>
              </a:ext>
            </a:extLst>
          </p:cNvPr>
          <p:cNvSpPr>
            <a:spLocks noGrp="1"/>
          </p:cNvSpPr>
          <p:nvPr>
            <p:ph type="sldNum" sz="quarter" idx="15"/>
          </p:nvPr>
        </p:nvSpPr>
        <p:spPr/>
        <p:txBody>
          <a:bodyPr/>
          <a:lstStyle/>
          <a:p>
            <a:fld id="{3787542D-5C6B-4EB3-96EB-9B37C3D5D2F8}" type="slidenum">
              <a:rPr lang="en-GB" smtClean="0"/>
              <a:t>6</a:t>
            </a:fld>
            <a:endParaRPr lang="en-GB" dirty="0"/>
          </a:p>
        </p:txBody>
      </p:sp>
      <p:sp>
        <p:nvSpPr>
          <p:cNvPr id="5" name="Content Placeholder 4">
            <a:extLst>
              <a:ext uri="{FF2B5EF4-FFF2-40B4-BE49-F238E27FC236}">
                <a16:creationId xmlns:a16="http://schemas.microsoft.com/office/drawing/2014/main" id="{49696DD1-4F76-4249-8EEE-C0A860288B3A}"/>
              </a:ext>
            </a:extLst>
          </p:cNvPr>
          <p:cNvSpPr>
            <a:spLocks noGrp="1"/>
          </p:cNvSpPr>
          <p:nvPr>
            <p:ph sz="quarter" idx="13"/>
          </p:nvPr>
        </p:nvSpPr>
        <p:spPr>
          <a:xfrm>
            <a:off x="485775" y="1781175"/>
            <a:ext cx="5610225" cy="4476750"/>
          </a:xfrm>
        </p:spPr>
        <p:txBody>
          <a:bodyPr/>
          <a:lstStyle/>
          <a:p>
            <a:r>
              <a:rPr lang="en-GB" dirty="0"/>
              <a:t>Heat magazine made their content completely shoppable</a:t>
            </a:r>
          </a:p>
          <a:p>
            <a:r>
              <a:rPr lang="en-GB" dirty="0"/>
              <a:t>Using Phuzion’s image recognition platform Heat Magazine made the content fully shoppable</a:t>
            </a:r>
          </a:p>
          <a:p>
            <a:r>
              <a:rPr lang="en-GB" dirty="0"/>
              <a:t>Obviously helping to drive affiliate revenue streams</a:t>
            </a:r>
          </a:p>
          <a:p>
            <a:r>
              <a:rPr lang="en-GB" dirty="0"/>
              <a:t>Allowing readers to connect in an innovative and seamless way from print to digital</a:t>
            </a:r>
          </a:p>
          <a:p>
            <a:r>
              <a:rPr lang="en-GB" dirty="0"/>
              <a:t>You simply point your mobile at any page and take a picture to be taken straight to purchase</a:t>
            </a:r>
          </a:p>
          <a:p>
            <a:r>
              <a:rPr lang="en-GB" dirty="0"/>
              <a:t>Allowing you to take a consumer to products, without changing the editorial design or creative</a:t>
            </a:r>
          </a:p>
        </p:txBody>
      </p:sp>
      <p:pic>
        <p:nvPicPr>
          <p:cNvPr id="7" name="Picture 6">
            <a:extLst>
              <a:ext uri="{FF2B5EF4-FFF2-40B4-BE49-F238E27FC236}">
                <a16:creationId xmlns:a16="http://schemas.microsoft.com/office/drawing/2014/main" id="{C9F17E5B-25E5-4490-A935-A5D7D3A041BB}"/>
              </a:ext>
            </a:extLst>
          </p:cNvPr>
          <p:cNvPicPr>
            <a:picLocks noChangeAspect="1"/>
          </p:cNvPicPr>
          <p:nvPr/>
        </p:nvPicPr>
        <p:blipFill rotWithShape="1">
          <a:blip r:embed="rId2"/>
          <a:srcRect l="42059" t="33170" r="41907" b="14482"/>
          <a:stretch/>
        </p:blipFill>
        <p:spPr>
          <a:xfrm>
            <a:off x="6263375" y="1410472"/>
            <a:ext cx="1954933" cy="3589991"/>
          </a:xfrm>
          <a:prstGeom prst="rect">
            <a:avLst/>
          </a:prstGeom>
          <a:ln>
            <a:noFill/>
          </a:ln>
          <a:effectLst>
            <a:outerShdw blurRad="292100" dist="139700" dir="2700000" algn="tl" rotWithShape="0">
              <a:srgbClr val="333333">
                <a:alpha val="65000"/>
              </a:srgbClr>
            </a:outerShdw>
          </a:effectLst>
        </p:spPr>
      </p:pic>
      <p:pic>
        <p:nvPicPr>
          <p:cNvPr id="10" name="Picture 9">
            <a:extLst>
              <a:ext uri="{FF2B5EF4-FFF2-40B4-BE49-F238E27FC236}">
                <a16:creationId xmlns:a16="http://schemas.microsoft.com/office/drawing/2014/main" id="{055ACC31-FF7B-486E-A912-BAE9E88EB0EE}"/>
              </a:ext>
            </a:extLst>
          </p:cNvPr>
          <p:cNvPicPr>
            <a:picLocks noChangeAspect="1"/>
          </p:cNvPicPr>
          <p:nvPr/>
        </p:nvPicPr>
        <p:blipFill rotWithShape="1">
          <a:blip r:embed="rId3"/>
          <a:srcRect l="41982" t="33171" r="41983" b="14483"/>
          <a:stretch/>
        </p:blipFill>
        <p:spPr>
          <a:xfrm>
            <a:off x="8085791" y="1926061"/>
            <a:ext cx="1954933" cy="3589991"/>
          </a:xfrm>
          <a:prstGeom prst="rect">
            <a:avLst/>
          </a:prstGeom>
          <a:ln>
            <a:noFill/>
          </a:ln>
          <a:effectLst>
            <a:outerShdw blurRad="292100" dist="139700" dir="2700000" algn="tl" rotWithShape="0">
              <a:srgbClr val="333333">
                <a:alpha val="65000"/>
              </a:srgbClr>
            </a:outerShdw>
          </a:effectLst>
        </p:spPr>
      </p:pic>
      <p:pic>
        <p:nvPicPr>
          <p:cNvPr id="11" name="Picture 10">
            <a:extLst>
              <a:ext uri="{FF2B5EF4-FFF2-40B4-BE49-F238E27FC236}">
                <a16:creationId xmlns:a16="http://schemas.microsoft.com/office/drawing/2014/main" id="{66482D65-4246-4928-B410-90BD0B29FF2B}"/>
              </a:ext>
            </a:extLst>
          </p:cNvPr>
          <p:cNvPicPr>
            <a:picLocks noChangeAspect="1"/>
          </p:cNvPicPr>
          <p:nvPr/>
        </p:nvPicPr>
        <p:blipFill rotWithShape="1">
          <a:blip r:embed="rId4"/>
          <a:srcRect l="41953" t="24861" r="42012" b="14086"/>
          <a:stretch/>
        </p:blipFill>
        <p:spPr>
          <a:xfrm>
            <a:off x="10059227" y="2116378"/>
            <a:ext cx="1777212" cy="3806343"/>
          </a:xfrm>
          <a:prstGeom prst="rect">
            <a:avLst/>
          </a:prstGeom>
          <a:ln>
            <a:noFill/>
          </a:ln>
          <a:effectLst>
            <a:outerShdw blurRad="292100" dist="139700" dir="2700000" algn="tl" rotWithShape="0">
              <a:srgbClr val="333333">
                <a:alpha val="65000"/>
              </a:srgbClr>
            </a:outerShdw>
          </a:effectLst>
        </p:spPr>
      </p:pic>
      <p:sp>
        <p:nvSpPr>
          <p:cNvPr id="6" name="TextBox 5">
            <a:extLst>
              <a:ext uri="{FF2B5EF4-FFF2-40B4-BE49-F238E27FC236}">
                <a16:creationId xmlns:a16="http://schemas.microsoft.com/office/drawing/2014/main" id="{5DE0DFCE-5FF9-4A78-A8F0-8543E920A93C}"/>
              </a:ext>
            </a:extLst>
          </p:cNvPr>
          <p:cNvSpPr txBox="1"/>
          <p:nvPr/>
        </p:nvSpPr>
        <p:spPr>
          <a:xfrm>
            <a:off x="6166628" y="5655095"/>
            <a:ext cx="3210494" cy="369332"/>
          </a:xfrm>
          <a:prstGeom prst="rect">
            <a:avLst/>
          </a:prstGeom>
          <a:noFill/>
        </p:spPr>
        <p:txBody>
          <a:bodyPr wrap="none" rtlCol="0">
            <a:spAutoFit/>
          </a:bodyPr>
          <a:lstStyle/>
          <a:p>
            <a:r>
              <a:rPr lang="en-GB" dirty="0"/>
              <a:t>CLICK HERE TO SEE IT IN ACTION</a:t>
            </a:r>
          </a:p>
        </p:txBody>
      </p:sp>
      <p:sp>
        <p:nvSpPr>
          <p:cNvPr id="13" name="TextBox 12">
            <a:extLst>
              <a:ext uri="{FF2B5EF4-FFF2-40B4-BE49-F238E27FC236}">
                <a16:creationId xmlns:a16="http://schemas.microsoft.com/office/drawing/2014/main" id="{11FFDD3A-07F1-46C2-9FD0-F88C8417F759}"/>
              </a:ext>
            </a:extLst>
          </p:cNvPr>
          <p:cNvSpPr txBox="1"/>
          <p:nvPr/>
        </p:nvSpPr>
        <p:spPr>
          <a:xfrm>
            <a:off x="9168354" y="6343296"/>
            <a:ext cx="1936749" cy="261610"/>
          </a:xfrm>
          <a:prstGeom prst="rect">
            <a:avLst/>
          </a:prstGeom>
          <a:noFill/>
        </p:spPr>
        <p:txBody>
          <a:bodyPr wrap="none" rtlCol="0">
            <a:spAutoFit/>
          </a:bodyPr>
          <a:lstStyle/>
          <a:p>
            <a:r>
              <a:rPr lang="en-GB" sz="1100" dirty="0"/>
              <a:t>Source:  Phuzion Media UK Ltd</a:t>
            </a:r>
          </a:p>
        </p:txBody>
      </p:sp>
      <p:grpSp>
        <p:nvGrpSpPr>
          <p:cNvPr id="8" name="Group 7">
            <a:extLst>
              <a:ext uri="{FF2B5EF4-FFF2-40B4-BE49-F238E27FC236}">
                <a16:creationId xmlns:a16="http://schemas.microsoft.com/office/drawing/2014/main" id="{563A9873-A5E9-44B7-9126-D2E358FC25E8}"/>
              </a:ext>
            </a:extLst>
          </p:cNvPr>
          <p:cNvGrpSpPr/>
          <p:nvPr/>
        </p:nvGrpSpPr>
        <p:grpSpPr>
          <a:xfrm>
            <a:off x="6273782" y="5122741"/>
            <a:ext cx="496849" cy="496849"/>
            <a:chOff x="6273782" y="5122741"/>
            <a:chExt cx="496849" cy="496849"/>
          </a:xfrm>
        </p:grpSpPr>
        <p:sp>
          <p:nvSpPr>
            <p:cNvPr id="12" name="Oval 11">
              <a:hlinkClick r:id="rId5"/>
              <a:extLst>
                <a:ext uri="{FF2B5EF4-FFF2-40B4-BE49-F238E27FC236}">
                  <a16:creationId xmlns:a16="http://schemas.microsoft.com/office/drawing/2014/main" id="{ECAC8741-27F3-4833-8D4B-B20D4713A245}"/>
                </a:ext>
              </a:extLst>
            </p:cNvPr>
            <p:cNvSpPr/>
            <p:nvPr/>
          </p:nvSpPr>
          <p:spPr>
            <a:xfrm>
              <a:off x="6273782" y="5122741"/>
              <a:ext cx="496849" cy="496849"/>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2"/>
                </a:solidFill>
              </a:endParaRPr>
            </a:p>
          </p:txBody>
        </p:sp>
        <p:sp>
          <p:nvSpPr>
            <p:cNvPr id="14" name="Oval 13">
              <a:hlinkClick r:id="rId5"/>
              <a:extLst>
                <a:ext uri="{FF2B5EF4-FFF2-40B4-BE49-F238E27FC236}">
                  <a16:creationId xmlns:a16="http://schemas.microsoft.com/office/drawing/2014/main" id="{C685AC3B-6DDA-44E7-B33A-CA75DBA96553}"/>
                </a:ext>
              </a:extLst>
            </p:cNvPr>
            <p:cNvSpPr/>
            <p:nvPr/>
          </p:nvSpPr>
          <p:spPr>
            <a:xfrm>
              <a:off x="6328472" y="5177431"/>
              <a:ext cx="387468" cy="387468"/>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2"/>
                </a:solidFill>
              </a:endParaRPr>
            </a:p>
          </p:txBody>
        </p:sp>
      </p:grpSp>
    </p:spTree>
    <p:extLst>
      <p:ext uri="{BB962C8B-B14F-4D97-AF65-F5344CB8AC3E}">
        <p14:creationId xmlns:p14="http://schemas.microsoft.com/office/powerpoint/2010/main" val="5208894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FA52A33-4FFF-4E1D-B41E-D57B85EF769D}"/>
              </a:ext>
            </a:extLst>
          </p:cNvPr>
          <p:cNvSpPr>
            <a:spLocks noGrp="1"/>
          </p:cNvSpPr>
          <p:nvPr>
            <p:ph type="title"/>
          </p:nvPr>
        </p:nvSpPr>
        <p:spPr>
          <a:xfrm>
            <a:off x="486001" y="413999"/>
            <a:ext cx="5610000" cy="1050665"/>
          </a:xfrm>
        </p:spPr>
        <p:txBody>
          <a:bodyPr/>
          <a:lstStyle/>
          <a:p>
            <a:r>
              <a:rPr lang="en-GB" dirty="0"/>
              <a:t>Animated video</a:t>
            </a:r>
          </a:p>
        </p:txBody>
      </p:sp>
      <p:sp>
        <p:nvSpPr>
          <p:cNvPr id="7" name="Text Placeholder 6">
            <a:extLst>
              <a:ext uri="{FF2B5EF4-FFF2-40B4-BE49-F238E27FC236}">
                <a16:creationId xmlns:a16="http://schemas.microsoft.com/office/drawing/2014/main" id="{EFA914F6-4748-4DCE-8671-F0511E1443FB}"/>
              </a:ext>
            </a:extLst>
          </p:cNvPr>
          <p:cNvSpPr>
            <a:spLocks noGrp="1"/>
          </p:cNvSpPr>
          <p:nvPr>
            <p:ph type="body" sz="quarter" idx="11"/>
          </p:nvPr>
        </p:nvSpPr>
        <p:spPr>
          <a:xfrm>
            <a:off x="486002" y="1514244"/>
            <a:ext cx="5610000" cy="267229"/>
          </a:xfrm>
        </p:spPr>
        <p:txBody>
          <a:bodyPr/>
          <a:lstStyle/>
          <a:p>
            <a:endParaRPr lang="en-GB" dirty="0"/>
          </a:p>
        </p:txBody>
      </p:sp>
      <p:sp>
        <p:nvSpPr>
          <p:cNvPr id="5" name="Slide Number Placeholder 4">
            <a:extLst>
              <a:ext uri="{FF2B5EF4-FFF2-40B4-BE49-F238E27FC236}">
                <a16:creationId xmlns:a16="http://schemas.microsoft.com/office/drawing/2014/main" id="{19C46362-E9EC-46E6-91C4-6D919F2A801C}"/>
              </a:ext>
            </a:extLst>
          </p:cNvPr>
          <p:cNvSpPr>
            <a:spLocks noGrp="1"/>
          </p:cNvSpPr>
          <p:nvPr>
            <p:ph type="sldNum" sz="quarter" idx="15"/>
          </p:nvPr>
        </p:nvSpPr>
        <p:spPr/>
        <p:txBody>
          <a:bodyPr/>
          <a:lstStyle/>
          <a:p>
            <a:fld id="{3787542D-5C6B-4EB3-96EB-9B37C3D5D2F8}" type="slidenum">
              <a:rPr lang="en-GB" smtClean="0"/>
              <a:t>7</a:t>
            </a:fld>
            <a:endParaRPr lang="en-GB" dirty="0"/>
          </a:p>
        </p:txBody>
      </p:sp>
      <p:sp>
        <p:nvSpPr>
          <p:cNvPr id="8" name="Content Placeholder 7">
            <a:extLst>
              <a:ext uri="{FF2B5EF4-FFF2-40B4-BE49-F238E27FC236}">
                <a16:creationId xmlns:a16="http://schemas.microsoft.com/office/drawing/2014/main" id="{0E0B3D71-08A1-4A00-BAD1-15DCD56D8A13}"/>
              </a:ext>
            </a:extLst>
          </p:cNvPr>
          <p:cNvSpPr>
            <a:spLocks noGrp="1"/>
          </p:cNvSpPr>
          <p:nvPr>
            <p:ph sz="quarter" idx="13"/>
          </p:nvPr>
        </p:nvSpPr>
        <p:spPr>
          <a:xfrm>
            <a:off x="485776" y="1781175"/>
            <a:ext cx="5610001" cy="4476750"/>
          </a:xfrm>
        </p:spPr>
        <p:txBody>
          <a:bodyPr/>
          <a:lstStyle/>
          <a:p>
            <a:pPr marL="0" indent="0">
              <a:buNone/>
            </a:pPr>
            <a:r>
              <a:rPr lang="en-US" b="1" dirty="0"/>
              <a:t>Background</a:t>
            </a:r>
          </a:p>
          <a:p>
            <a:pPr marL="0" indent="0">
              <a:buNone/>
            </a:pPr>
            <a:r>
              <a:rPr lang="en-GB" dirty="0"/>
              <a:t>Volkswagen Commercial Vehicles (VW) launched the Crafter Chassis Cab - they needed to show how it was flexible enough for tradespeople to convert the vehicle to suit their line of work. </a:t>
            </a:r>
          </a:p>
          <a:p>
            <a:pPr marL="0" indent="0">
              <a:buNone/>
            </a:pPr>
            <a:r>
              <a:rPr lang="en-US" b="1" dirty="0"/>
              <a:t>Strategy</a:t>
            </a:r>
            <a:endParaRPr lang="en-US" dirty="0"/>
          </a:p>
          <a:p>
            <a:pPr marL="0" indent="0">
              <a:buNone/>
            </a:pPr>
            <a:r>
              <a:rPr lang="en-GB" dirty="0"/>
              <a:t>VW created a slide out format mailing - under the headline ‘</a:t>
            </a:r>
            <a:r>
              <a:rPr lang="en-GB" i="1" dirty="0"/>
              <a:t>Craft it for your Business’ </a:t>
            </a:r>
            <a:r>
              <a:rPr lang="en-GB" dirty="0"/>
              <a:t>- to illustrate multiple conversion ideas in a tactile, bite-size way. It then cut to the chase with the facts and information needed. Echoing the advanced tech of the vehicle, the recipient could hold their phone over the pack to see even more options brought to life via animated video. </a:t>
            </a:r>
            <a:endParaRPr lang="en-US" dirty="0"/>
          </a:p>
          <a:p>
            <a:endParaRPr lang="en-GB" dirty="0"/>
          </a:p>
        </p:txBody>
      </p:sp>
      <p:sp>
        <p:nvSpPr>
          <p:cNvPr id="9" name="Rectangle 8">
            <a:extLst>
              <a:ext uri="{FF2B5EF4-FFF2-40B4-BE49-F238E27FC236}">
                <a16:creationId xmlns:a16="http://schemas.microsoft.com/office/drawing/2014/main" id="{43B38E50-A97D-4635-AD96-438C615A47DE}"/>
              </a:ext>
            </a:extLst>
          </p:cNvPr>
          <p:cNvSpPr/>
          <p:nvPr/>
        </p:nvSpPr>
        <p:spPr>
          <a:xfrm>
            <a:off x="7689683" y="6327934"/>
            <a:ext cx="7068273" cy="261610"/>
          </a:xfrm>
          <a:prstGeom prst="rect">
            <a:avLst/>
          </a:prstGeom>
        </p:spPr>
        <p:txBody>
          <a:bodyPr wrap="square">
            <a:spAutoFit/>
          </a:bodyPr>
          <a:lstStyle/>
          <a:p>
            <a:pPr fontAlgn="base"/>
            <a:r>
              <a:rPr lang="en-US" sz="1100" dirty="0">
                <a:latin typeface="Arial" panose="020B0604020202020204" pitchFamily="34" charset="0"/>
                <a:ea typeface="MS Mincho" panose="02020609040205080304" pitchFamily="49" charset="-128"/>
              </a:rPr>
              <a:t>Source: Warc/DMA Winner 2018 (Bronze). Best use of mail. </a:t>
            </a:r>
            <a:endParaRPr lang="en-GB" sz="1100" dirty="0">
              <a:latin typeface="Times New Roman" panose="02020603050405020304" pitchFamily="18" charset="0"/>
              <a:ea typeface="Times New Roman" panose="02020603050405020304" pitchFamily="18" charset="0"/>
            </a:endParaRPr>
          </a:p>
        </p:txBody>
      </p:sp>
      <p:pic>
        <p:nvPicPr>
          <p:cNvPr id="10" name="Picture 1" descr="Tbae58b256443-proj013267_vw-cv8-oos-chassis-cab-a5-postcards_v0.04_page_1_5bae58b256356-857.jpg">
            <a:extLst>
              <a:ext uri="{FF2B5EF4-FFF2-40B4-BE49-F238E27FC236}">
                <a16:creationId xmlns:a16="http://schemas.microsoft.com/office/drawing/2014/main" id="{47DEB8D8-579B-4A53-8CB9-8ED282C1A8C6}"/>
              </a:ext>
            </a:extLst>
          </p:cNvPr>
          <p:cNvPicPr>
            <a:picLocks noChangeAspect="1" noChangeArrowheads="1"/>
          </p:cNvPicPr>
          <p:nvPr>
            <p:custDataLst>
              <p:tags r:id="rId1"/>
            </p:custDataLst>
          </p:nvPr>
        </p:nvPicPr>
        <p:blipFill>
          <a:blip r:embed="rId3" r:link="rId4">
            <a:extLst>
              <a:ext uri="{28A0092B-C50C-407E-A947-70E740481C1C}">
                <a14:useLocalDpi xmlns:a14="http://schemas.microsoft.com/office/drawing/2010/main" val="0"/>
              </a:ext>
            </a:extLst>
          </a:blip>
          <a:srcRect/>
          <a:stretch>
            <a:fillRect/>
          </a:stretch>
        </p:blipFill>
        <p:spPr bwMode="auto">
          <a:xfrm>
            <a:off x="6511314" y="2054900"/>
            <a:ext cx="4550603" cy="321054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93792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0B5D02-E81D-49DE-BB2F-A3818AE00C55}"/>
              </a:ext>
            </a:extLst>
          </p:cNvPr>
          <p:cNvSpPr>
            <a:spLocks noGrp="1"/>
          </p:cNvSpPr>
          <p:nvPr>
            <p:ph type="title"/>
          </p:nvPr>
        </p:nvSpPr>
        <p:spPr/>
        <p:txBody>
          <a:bodyPr/>
          <a:lstStyle/>
          <a:p>
            <a:r>
              <a:rPr lang="en-US" dirty="0"/>
              <a:t>AN NFC Sticker BOUGHT HOMELESSNESS TO LIFE </a:t>
            </a:r>
            <a:endParaRPr lang="en-GB" dirty="0"/>
          </a:p>
        </p:txBody>
      </p:sp>
      <p:sp>
        <p:nvSpPr>
          <p:cNvPr id="4" name="Slide Number Placeholder 3">
            <a:extLst>
              <a:ext uri="{FF2B5EF4-FFF2-40B4-BE49-F238E27FC236}">
                <a16:creationId xmlns:a16="http://schemas.microsoft.com/office/drawing/2014/main" id="{BC668A5D-9A1E-44CF-8894-CD08DE62F830}"/>
              </a:ext>
            </a:extLst>
          </p:cNvPr>
          <p:cNvSpPr>
            <a:spLocks noGrp="1"/>
          </p:cNvSpPr>
          <p:nvPr>
            <p:ph type="sldNum" sz="quarter" idx="15"/>
          </p:nvPr>
        </p:nvSpPr>
        <p:spPr/>
        <p:txBody>
          <a:bodyPr/>
          <a:lstStyle/>
          <a:p>
            <a:fld id="{3787542D-5C6B-4EB3-96EB-9B37C3D5D2F8}" type="slidenum">
              <a:rPr lang="en-GB" smtClean="0"/>
              <a:t>8</a:t>
            </a:fld>
            <a:endParaRPr lang="en-GB" dirty="0"/>
          </a:p>
        </p:txBody>
      </p:sp>
      <p:sp>
        <p:nvSpPr>
          <p:cNvPr id="5" name="Content Placeholder 4">
            <a:extLst>
              <a:ext uri="{FF2B5EF4-FFF2-40B4-BE49-F238E27FC236}">
                <a16:creationId xmlns:a16="http://schemas.microsoft.com/office/drawing/2014/main" id="{5E4AAFB7-8F6C-4AD1-BAE4-0D19C00DAF15}"/>
              </a:ext>
            </a:extLst>
          </p:cNvPr>
          <p:cNvSpPr>
            <a:spLocks noGrp="1"/>
          </p:cNvSpPr>
          <p:nvPr>
            <p:ph sz="quarter" idx="13"/>
          </p:nvPr>
        </p:nvSpPr>
        <p:spPr>
          <a:xfrm>
            <a:off x="485776" y="1781175"/>
            <a:ext cx="7041297" cy="4476750"/>
          </a:xfrm>
        </p:spPr>
        <p:txBody>
          <a:bodyPr/>
          <a:lstStyle/>
          <a:p>
            <a:pPr marL="0" indent="0">
              <a:buNone/>
            </a:pPr>
            <a:r>
              <a:rPr lang="en-GB" b="1" dirty="0"/>
              <a:t>Background</a:t>
            </a:r>
          </a:p>
          <a:p>
            <a:pPr marL="0" indent="0" fontAlgn="base">
              <a:buNone/>
            </a:pPr>
            <a:r>
              <a:rPr lang="en-GB" dirty="0"/>
              <a:t>Shelter mail a newsletter twice a year to donors to build relationships. In 2020, they wanted to test a new approach in engaging a specific audience – Digital Savvy Donors; new regular givers who signed up online. </a:t>
            </a:r>
          </a:p>
          <a:p>
            <a:pPr marL="0" indent="0" fontAlgn="base">
              <a:buNone/>
            </a:pPr>
            <a:r>
              <a:rPr lang="en-GB" b="1" dirty="0"/>
              <a:t>Solution</a:t>
            </a:r>
            <a:endParaRPr lang="en-US" dirty="0"/>
          </a:p>
          <a:p>
            <a:pPr marL="0" indent="0">
              <a:buNone/>
            </a:pPr>
            <a:r>
              <a:rPr lang="en-GB" dirty="0"/>
              <a:t>Shelter, working with the cashless donation specialists Thyngs, tested mailing an interactive postcard instead of the newsletter to their Digital Savvy Donors. The postcard included an NFC sticker/QR Code, when scanned, it led the donor to a bespoke page of the digital newsletter where Rhys, who had been street homeless explained how Shelter helped him find and keep a safe home.</a:t>
            </a:r>
          </a:p>
          <a:p>
            <a:pPr marL="0" indent="0">
              <a:buNone/>
            </a:pPr>
            <a:r>
              <a:rPr lang="en-US" b="1" dirty="0"/>
              <a:t>Results</a:t>
            </a:r>
            <a:endParaRPr lang="en-GB" b="1" dirty="0"/>
          </a:p>
          <a:p>
            <a:pPr marL="0" indent="0">
              <a:buNone/>
            </a:pPr>
            <a:r>
              <a:rPr lang="en-GB" dirty="0"/>
              <a:t>1.76% of</a:t>
            </a:r>
            <a:r>
              <a:rPr lang="en-US" dirty="0"/>
              <a:t> Digital Savvy Donors scanned the code to read the case study and watch the video. </a:t>
            </a:r>
            <a:r>
              <a:rPr lang="en-GB" dirty="0"/>
              <a:t>Analysis showed that donors share the case study with others, helping to spread the message further. </a:t>
            </a:r>
            <a:endParaRPr lang="en-US" dirty="0"/>
          </a:p>
          <a:p>
            <a:endParaRPr lang="en-GB" dirty="0"/>
          </a:p>
        </p:txBody>
      </p:sp>
      <p:sp>
        <p:nvSpPr>
          <p:cNvPr id="6" name="Rectangle 5">
            <a:extLst>
              <a:ext uri="{FF2B5EF4-FFF2-40B4-BE49-F238E27FC236}">
                <a16:creationId xmlns:a16="http://schemas.microsoft.com/office/drawing/2014/main" id="{10F69010-57D3-435D-B69B-9E77FF8E24AB}"/>
              </a:ext>
            </a:extLst>
          </p:cNvPr>
          <p:cNvSpPr/>
          <p:nvPr/>
        </p:nvSpPr>
        <p:spPr>
          <a:xfrm>
            <a:off x="7185358" y="6344816"/>
            <a:ext cx="4918845" cy="261610"/>
          </a:xfrm>
          <a:prstGeom prst="rect">
            <a:avLst/>
          </a:prstGeom>
        </p:spPr>
        <p:txBody>
          <a:bodyPr wrap="square">
            <a:spAutoFit/>
          </a:bodyPr>
          <a:lstStyle/>
          <a:p>
            <a:pPr fontAlgn="base"/>
            <a:r>
              <a:rPr lang="en-US" sz="1100" dirty="0">
                <a:ea typeface="MS Mincho" panose="02020609040205080304" pitchFamily="49" charset="-128"/>
              </a:rPr>
              <a:t>Source: </a:t>
            </a:r>
            <a:r>
              <a:rPr lang="en-GB" sz="1100" dirty="0">
                <a:solidFill>
                  <a:srgbClr val="000000"/>
                </a:solidFill>
                <a:ea typeface="Times New Roman" panose="02020603050405020304" pitchFamily="18" charset="0"/>
              </a:rPr>
              <a:t>Claire Leslie, Senior Direct Marketing Executive, Shelter</a:t>
            </a:r>
            <a:endParaRPr lang="en-GB" sz="1100" dirty="0">
              <a:ea typeface="Times New Roman" panose="02020603050405020304" pitchFamily="18" charset="0"/>
            </a:endParaRPr>
          </a:p>
        </p:txBody>
      </p:sp>
      <p:pic>
        <p:nvPicPr>
          <p:cNvPr id="7" name="Picture 6" descr="A person holding a sign&#10;&#10;Description automatically generated">
            <a:extLst>
              <a:ext uri="{FF2B5EF4-FFF2-40B4-BE49-F238E27FC236}">
                <a16:creationId xmlns:a16="http://schemas.microsoft.com/office/drawing/2014/main" id="{DC33B7E7-F12E-4602-8417-D5230545103E}"/>
              </a:ext>
            </a:extLst>
          </p:cNvPr>
          <p:cNvPicPr/>
          <p:nvPr/>
        </p:nvPicPr>
        <p:blipFill>
          <a:blip r:embed="rId2">
            <a:extLst>
              <a:ext uri="{28A0092B-C50C-407E-A947-70E740481C1C}">
                <a14:useLocalDpi xmlns:a14="http://schemas.microsoft.com/office/drawing/2010/main" val="0"/>
              </a:ext>
            </a:extLst>
          </a:blip>
          <a:stretch>
            <a:fillRect/>
          </a:stretch>
        </p:blipFill>
        <p:spPr>
          <a:xfrm>
            <a:off x="7888557" y="2573526"/>
            <a:ext cx="3817667" cy="2695200"/>
          </a:xfrm>
          <a:prstGeom prst="rect">
            <a:avLst/>
          </a:prstGeom>
        </p:spPr>
      </p:pic>
    </p:spTree>
    <p:extLst>
      <p:ext uri="{BB962C8B-B14F-4D97-AF65-F5344CB8AC3E}">
        <p14:creationId xmlns:p14="http://schemas.microsoft.com/office/powerpoint/2010/main" val="24703591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9CE7C9F-DB35-4BBC-A319-BDBEB635C1B3}"/>
              </a:ext>
            </a:extLst>
          </p:cNvPr>
          <p:cNvSpPr>
            <a:spLocks noGrp="1"/>
          </p:cNvSpPr>
          <p:nvPr>
            <p:ph type="body" sz="quarter" idx="10"/>
          </p:nvPr>
        </p:nvSpPr>
        <p:spPr>
          <a:xfrm>
            <a:off x="1149217" y="1789835"/>
            <a:ext cx="9906476" cy="1584325"/>
          </a:xfrm>
        </p:spPr>
        <p:txBody>
          <a:bodyPr/>
          <a:lstStyle/>
          <a:p>
            <a:r>
              <a:rPr lang="en-GB" dirty="0"/>
              <a:t>“AS AN INITIAL TEST TO SEE IF PEOPLE WOULD INTERACT WITH AN NFC/QR CODE, WE WERE VERY HAPPY WITH THE RESULTS.  IT SHOWS THAT PEOPLE ARE INTERACTING WITH SOMETHING YOU HAVE MAILED WHICH IS REALLY EXCITING”</a:t>
            </a:r>
          </a:p>
          <a:p>
            <a:r>
              <a:rPr lang="en-GB" sz="1600" dirty="0"/>
              <a:t>Claire Leslie, Senior Direct Marketing Executive, Shelter</a:t>
            </a:r>
          </a:p>
          <a:p>
            <a:endParaRPr lang="en-GB" dirty="0"/>
          </a:p>
        </p:txBody>
      </p:sp>
    </p:spTree>
    <p:extLst>
      <p:ext uri="{BB962C8B-B14F-4D97-AF65-F5344CB8AC3E}">
        <p14:creationId xmlns:p14="http://schemas.microsoft.com/office/powerpoint/2010/main" val="29835702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0.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17FAB0FF-D809-424F-ABB0-459C930D832C&quot;,&quot;SourceFullName&quot;:&quot;\\\\var\\folders\\yq\\8lp5_fqx6p52y_y4s5fy2m6h0000gn\\T\\com.microsoft.Word\\WebArchiveCopyPasteTempFiles\\PO.jpg&quot;,&quot;LastUpdate&quot;:&quot;2021-08-03 10:49 AM&quot;,&quot;UpdatedBy&quot;:&quot;sophie.grender&quot;,&quot;IsLinked&quot;:false,&quot;IsBrokenLink&quot;:false}"/>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smartphone_POWER_USER_SEPARATOR_ICONS_iphone_POWER_USER_SEPARATOR_ICONS_phone_POWER_USER_SEPARATOR_ICONS_phone-call_POWER_USER_SEPARATOR_ICONS_phone-number"/>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magnifying-glass_POWER_USER_SEPARATOR_ICONS_detective_POWER_USER_SEPARATOR_ICONS_find_POWER_USER_SEPARATOR_ICONS_look_POWER_USER_SEPARATOR_ICONS_search_POWER_USER_SEPARATOR_ICONS_view"/>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9.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00D165B8-5749-4E2B-A014-717E64A95DC7&quot;,&quot;SourceFullName&quot;:&quot;\\\\var\\folders\\yq\\8lp5_fqx6p52y_y4s5fy2m6h0000gn\\T\\com.microsoft.Word\\WebArchiveCopyPasteTempFiles\\Tbae58b256443-proj013267_vw-cv8-oos-chassis-cab-a5-postcards_v0.04_page_1_5bae58b256356-857.jpg&quot;,&quot;LastUpdate&quot;:&quot;2021-08-02 5:15 PM&quot;,&quot;UpdatedBy&quot;:&quot;sophie.grender&quot;,&quot;IsLinked&quot;:false,&quot;IsBrokenLink&quot;:false}"/>
</p:tagLst>
</file>

<file path=ppt/theme/theme1.xml><?xml version="1.0" encoding="utf-8"?>
<a:theme xmlns:a="http://schemas.openxmlformats.org/drawingml/2006/main" name="Office Theme">
  <a:themeElements>
    <a:clrScheme name="Marketreach Colours">
      <a:dk1>
        <a:srgbClr val="000000"/>
      </a:dk1>
      <a:lt1>
        <a:srgbClr val="FFFFFF"/>
      </a:lt1>
      <a:dk2>
        <a:srgbClr val="666666"/>
      </a:dk2>
      <a:lt2>
        <a:srgbClr val="FFFFFF"/>
      </a:lt2>
      <a:accent1>
        <a:srgbClr val="E32019"/>
      </a:accent1>
      <a:accent2>
        <a:srgbClr val="E94D47"/>
      </a:accent2>
      <a:accent3>
        <a:srgbClr val="EE7975"/>
      </a:accent3>
      <a:accent4>
        <a:srgbClr val="F3A6A3"/>
      </a:accent4>
      <a:accent5>
        <a:srgbClr val="F9D3D1"/>
      </a:accent5>
      <a:accent6>
        <a:srgbClr val="000000"/>
      </a:accent6>
      <a:hlink>
        <a:srgbClr val="E32019"/>
      </a:hlink>
      <a:folHlink>
        <a:srgbClr val="E94D47"/>
      </a:folHlink>
    </a:clrScheme>
    <a:fontScheme name="Marketreach fonts">
      <a:majorFont>
        <a:latin typeface="Century Gothic"/>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982</Words>
  <Application>Microsoft Office PowerPoint</Application>
  <PresentationFormat>Widescreen</PresentationFormat>
  <Paragraphs>116</Paragraphs>
  <Slides>13</Slides>
  <Notes>0</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3</vt:i4>
      </vt:variant>
    </vt:vector>
  </HeadingPairs>
  <TitlesOfParts>
    <vt:vector size="20" baseType="lpstr">
      <vt:lpstr>Arial</vt:lpstr>
      <vt:lpstr>Calibri</vt:lpstr>
      <vt:lpstr>Century Gothic</vt:lpstr>
      <vt:lpstr>Impact</vt:lpstr>
      <vt:lpstr>Times New Roman</vt:lpstr>
      <vt:lpstr>Wingdings</vt:lpstr>
      <vt:lpstr>Office Theme</vt:lpstr>
      <vt:lpstr>USING IMAGE TECHNOLOGY IN MAIL TO DRIVE ONLINE BEHAVIOUR &amp; CONSUMER ENGAGEMENT</vt:lpstr>
      <vt:lpstr>Mail drives high engagement</vt:lpstr>
      <vt:lpstr>Using new technology to drive frictionless offline to online</vt:lpstr>
      <vt:lpstr>PowerPoint Presentation</vt:lpstr>
      <vt:lpstr>Augmented reality</vt:lpstr>
      <vt:lpstr>Digital IMAGE RECOGNITION</vt:lpstr>
      <vt:lpstr>Animated video</vt:lpstr>
      <vt:lpstr>AN NFC Sticker BOUGHT HOMELESSNESS TO LIFE </vt:lpstr>
      <vt:lpstr>PowerPoint Presentation</vt:lpstr>
      <vt:lpstr>P&amp;O USED AUGMENTED REALITY TO HELP THEIR NEW SHIP SAIL</vt:lpstr>
      <vt:lpstr>To sum up</vt:lpstr>
      <vt:lpstr>TESTING AND INNOVATION SCHEME</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10-03T11:19:32Z</dcterms:created>
  <dcterms:modified xsi:type="dcterms:W3CDTF">2021-08-23T09:02: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80f36f3-41a5-4f45-a6a2-e224f336accd_Enabled">
    <vt:lpwstr>true</vt:lpwstr>
  </property>
  <property fmtid="{D5CDD505-2E9C-101B-9397-08002B2CF9AE}" pid="3" name="MSIP_Label_980f36f3-41a5-4f45-a6a2-e224f336accd_SetDate">
    <vt:lpwstr>2021-08-23T09:02:04Z</vt:lpwstr>
  </property>
  <property fmtid="{D5CDD505-2E9C-101B-9397-08002B2CF9AE}" pid="4" name="MSIP_Label_980f36f3-41a5-4f45-a6a2-e224f336accd_Method">
    <vt:lpwstr>Standard</vt:lpwstr>
  </property>
  <property fmtid="{D5CDD505-2E9C-101B-9397-08002B2CF9AE}" pid="5" name="MSIP_Label_980f36f3-41a5-4f45-a6a2-e224f336accd_Name">
    <vt:lpwstr>980f36f3-41a5-4f45-a6a2-e224f336accd</vt:lpwstr>
  </property>
  <property fmtid="{D5CDD505-2E9C-101B-9397-08002B2CF9AE}" pid="6" name="MSIP_Label_980f36f3-41a5-4f45-a6a2-e224f336accd_SiteId">
    <vt:lpwstr>7a082108-90dd-41ac-be41-9b8feabee2da</vt:lpwstr>
  </property>
  <property fmtid="{D5CDD505-2E9C-101B-9397-08002B2CF9AE}" pid="7" name="MSIP_Label_980f36f3-41a5-4f45-a6a2-e224f336accd_ActionId">
    <vt:lpwstr/>
  </property>
  <property fmtid="{D5CDD505-2E9C-101B-9397-08002B2CF9AE}" pid="8" name="MSIP_Label_980f36f3-41a5-4f45-a6a2-e224f336accd_ContentBits">
    <vt:lpwstr>2</vt:lpwstr>
  </property>
</Properties>
</file>